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962" r:id="rId1"/>
    <p:sldMasterId id="2147484195" r:id="rId2"/>
    <p:sldMasterId id="2147484220" r:id="rId3"/>
    <p:sldMasterId id="2147484245" r:id="rId4"/>
    <p:sldMasterId id="2147484269" r:id="rId5"/>
    <p:sldMasterId id="2147484279" r:id="rId6"/>
  </p:sldMasterIdLst>
  <p:notesMasterIdLst>
    <p:notesMasterId r:id="rId43"/>
  </p:notesMasterIdLst>
  <p:handoutMasterIdLst>
    <p:handoutMasterId r:id="rId44"/>
  </p:handoutMasterIdLst>
  <p:sldIdLst>
    <p:sldId id="292" r:id="rId7"/>
    <p:sldId id="897" r:id="rId8"/>
    <p:sldId id="1068" r:id="rId9"/>
    <p:sldId id="1097" r:id="rId10"/>
    <p:sldId id="1098" r:id="rId11"/>
    <p:sldId id="1099" r:id="rId12"/>
    <p:sldId id="1100" r:id="rId13"/>
    <p:sldId id="1101" r:id="rId14"/>
    <p:sldId id="1069" r:id="rId15"/>
    <p:sldId id="1070" r:id="rId16"/>
    <p:sldId id="1102" r:id="rId17"/>
    <p:sldId id="1064" r:id="rId18"/>
    <p:sldId id="1071" r:id="rId19"/>
    <p:sldId id="1072" r:id="rId20"/>
    <p:sldId id="1065" r:id="rId21"/>
    <p:sldId id="1079" r:id="rId22"/>
    <p:sldId id="1105" r:id="rId23"/>
    <p:sldId id="1080" r:id="rId24"/>
    <p:sldId id="1084" r:id="rId25"/>
    <p:sldId id="1066" r:id="rId26"/>
    <p:sldId id="1093" r:id="rId27"/>
    <p:sldId id="1107" r:id="rId28"/>
    <p:sldId id="1104" r:id="rId29"/>
    <p:sldId id="1103" r:id="rId30"/>
    <p:sldId id="1108" r:id="rId31"/>
    <p:sldId id="1109" r:id="rId32"/>
    <p:sldId id="1067" r:id="rId33"/>
    <p:sldId id="1081" r:id="rId34"/>
    <p:sldId id="1110" r:id="rId35"/>
    <p:sldId id="1111" r:id="rId36"/>
    <p:sldId id="1112" r:id="rId37"/>
    <p:sldId id="1113" r:id="rId38"/>
    <p:sldId id="1114" r:id="rId39"/>
    <p:sldId id="1115" r:id="rId40"/>
    <p:sldId id="1106" r:id="rId41"/>
    <p:sldId id="521" r:id="rId42"/>
  </p:sldIdLst>
  <p:sldSz cx="9144000" cy="6858000" type="screen4x3"/>
  <p:notesSz cx="7010400" cy="9296400"/>
  <p:custDataLst>
    <p:tags r:id="rId4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0">
          <p15:clr>
            <a:srgbClr val="A4A3A4"/>
          </p15:clr>
        </p15:guide>
        <p15:guide id="2" orient="horz" pos="812">
          <p15:clr>
            <a:srgbClr val="A4A3A4"/>
          </p15:clr>
        </p15:guide>
        <p15:guide id="3" orient="horz" pos="1153">
          <p15:clr>
            <a:srgbClr val="A4A3A4"/>
          </p15:clr>
        </p15:guide>
        <p15:guide id="4" pos="2893">
          <p15:clr>
            <a:srgbClr val="A4A3A4"/>
          </p15:clr>
        </p15:guide>
        <p15:guide id="5" pos="231">
          <p15:clr>
            <a:srgbClr val="A4A3A4"/>
          </p15:clr>
        </p15:guide>
        <p15:guide id="6" pos="5541">
          <p15:clr>
            <a:srgbClr val="A4A3A4"/>
          </p15:clr>
        </p15:guide>
        <p15:guide id="7" pos="4922">
          <p15:clr>
            <a:srgbClr val="A4A3A4"/>
          </p15:clr>
        </p15:guide>
        <p15:guide id="8" pos="4745">
          <p15:clr>
            <a:srgbClr val="A4A3A4"/>
          </p15:clr>
        </p15:guide>
        <p15:guide id="9" pos="7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00B0"/>
    <a:srgbClr val="000000"/>
    <a:srgbClr val="6E0A96"/>
    <a:srgbClr val="66DB2B"/>
    <a:srgbClr val="38454F"/>
    <a:srgbClr val="6ECFF5"/>
    <a:srgbClr val="A10524"/>
    <a:srgbClr val="BFF21C"/>
    <a:srgbClr val="FF8200"/>
    <a:srgbClr val="FFC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35" autoAdjust="0"/>
    <p:restoredTop sz="85819" autoAdjust="0"/>
  </p:normalViewPr>
  <p:slideViewPr>
    <p:cSldViewPr snapToGrid="0" showGuides="1">
      <p:cViewPr varScale="1">
        <p:scale>
          <a:sx n="62" d="100"/>
          <a:sy n="62" d="100"/>
        </p:scale>
        <p:origin x="1788" y="72"/>
      </p:cViewPr>
      <p:guideLst>
        <p:guide orient="horz" pos="960"/>
        <p:guide orient="horz" pos="812"/>
        <p:guide orient="horz" pos="1153"/>
        <p:guide pos="2893"/>
        <p:guide pos="231"/>
        <p:guide pos="5541"/>
        <p:guide pos="4922"/>
        <p:guide pos="4745"/>
        <p:guide pos="7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62" d="100"/>
          <a:sy n="62" d="100"/>
        </p:scale>
        <p:origin x="-3125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2AA321-F2F6-4CA9-9705-5A43D66CD309}" type="doc">
      <dgm:prSet loTypeId="urn:microsoft.com/office/officeart/2008/layout/RadialCluster" loCatId="cycle" qsTypeId="urn:microsoft.com/office/officeart/2005/8/quickstyle/simple1" qsCatId="simple" csTypeId="urn:microsoft.com/office/officeart/2005/8/colors/accent1_2" csCatId="accent1" phldr="0"/>
      <dgm:spPr/>
      <dgm:t>
        <a:bodyPr/>
        <a:lstStyle/>
        <a:p>
          <a:endParaRPr lang="en-US"/>
        </a:p>
      </dgm:t>
    </dgm:pt>
    <dgm:pt modelId="{3C251915-2860-42A7-A531-9F76EAE5C8D0}" type="pres">
      <dgm:prSet presAssocID="{5D2AA321-F2F6-4CA9-9705-5A43D66CD309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</dgm:ptLst>
  <dgm:cxnLst>
    <dgm:cxn modelId="{DE7410BC-1D4D-4EEF-BB64-05D0BAD727D3}" type="presOf" srcId="{5D2AA321-F2F6-4CA9-9705-5A43D66CD309}" destId="{3C251915-2860-42A7-A531-9F76EAE5C8D0}" srcOrd="0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0317C7-2C44-4BE1-B66D-0007A970BEEB}" type="doc">
      <dgm:prSet loTypeId="urn:microsoft.com/office/officeart/2005/8/layout/arrow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333CFA1-6E1B-402C-A716-270A63B0886B}" type="pres">
      <dgm:prSet presAssocID="{550317C7-2C44-4BE1-B66D-0007A970BEEB}" presName="cycle" presStyleCnt="0">
        <dgm:presLayoutVars>
          <dgm:dir/>
          <dgm:resizeHandles val="exact"/>
        </dgm:presLayoutVars>
      </dgm:prSet>
      <dgm:spPr/>
    </dgm:pt>
  </dgm:ptLst>
  <dgm:cxnLst>
    <dgm:cxn modelId="{56F1CA48-C5D9-4C51-B87C-F1D5DB3C9FB6}" type="presOf" srcId="{550317C7-2C44-4BE1-B66D-0007A970BEEB}" destId="{4333CFA1-6E1B-402C-A716-270A63B0886B}" srcOrd="0" destOrd="0" presId="urn:microsoft.com/office/officeart/2005/8/layout/arrow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D2AA321-F2F6-4CA9-9705-5A43D66CD309}" type="doc">
      <dgm:prSet loTypeId="urn:microsoft.com/office/officeart/2008/layout/RadialCluster" loCatId="cycle" qsTypeId="urn:microsoft.com/office/officeart/2005/8/quickstyle/simple1" qsCatId="simple" csTypeId="urn:microsoft.com/office/officeart/2005/8/colors/accent1_2" csCatId="accent1" phldr="0"/>
      <dgm:spPr/>
      <dgm:t>
        <a:bodyPr/>
        <a:lstStyle/>
        <a:p>
          <a:endParaRPr lang="en-US"/>
        </a:p>
      </dgm:t>
    </dgm:pt>
    <dgm:pt modelId="{3C251915-2860-42A7-A531-9F76EAE5C8D0}" type="pres">
      <dgm:prSet presAssocID="{5D2AA321-F2F6-4CA9-9705-5A43D66CD309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</dgm:ptLst>
  <dgm:cxnLst>
    <dgm:cxn modelId="{DE7410BC-1D4D-4EEF-BB64-05D0BAD727D3}" type="presOf" srcId="{5D2AA321-F2F6-4CA9-9705-5A43D66CD309}" destId="{3C251915-2860-42A7-A531-9F76EAE5C8D0}" srcOrd="0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50317C7-2C44-4BE1-B66D-0007A970BEEB}" type="doc">
      <dgm:prSet loTypeId="urn:microsoft.com/office/officeart/2005/8/layout/arrow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333CFA1-6E1B-402C-A716-270A63B0886B}" type="pres">
      <dgm:prSet presAssocID="{550317C7-2C44-4BE1-B66D-0007A970BEEB}" presName="cycle" presStyleCnt="0">
        <dgm:presLayoutVars>
          <dgm:dir/>
          <dgm:resizeHandles val="exact"/>
        </dgm:presLayoutVars>
      </dgm:prSet>
      <dgm:spPr/>
    </dgm:pt>
  </dgm:ptLst>
  <dgm:cxnLst>
    <dgm:cxn modelId="{56F1CA48-C5D9-4C51-B87C-F1D5DB3C9FB6}" type="presOf" srcId="{550317C7-2C44-4BE1-B66D-0007A970BEEB}" destId="{4333CFA1-6E1B-402C-A716-270A63B0886B}" srcOrd="0" destOrd="0" presId="urn:microsoft.com/office/officeart/2005/8/layout/arrow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1">
  <dgm:title val=""/>
  <dgm:desc val=""/>
  <dgm:catLst>
    <dgm:cat type="relationship" pri="7000"/>
    <dgm:cat type="process" pri="3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0.1"/>
          <dgm:constr type="diam" refType="w" refFor="ch" refPtType="node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"/>
        </dgm:constrLst>
      </dgm:if>
      <dgm:if name="Name13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15"/>
        </dgm:constrLst>
      </dgm:if>
      <dgm:if name="Name14" axis="ch" ptType="node" func="cnt" op="equ" val="10">
        <dgm:constrLst>
          <dgm:constr type="primFontSz" for="ch" ptType="node" op="lte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else name="Name1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35"/>
        </dgm:constrLst>
      </dgm:else>
    </dgm:choose>
    <dgm:ruleLst/>
    <dgm:forEach name="Name16" axis="ch" ptType="node">
      <dgm:layoutNode name="arrow">
        <dgm:varLst>
          <dgm:bulletEnabled val="1"/>
        </dgm:varLst>
        <dgm:alg type="tx"/>
        <dgm:shape xmlns:r="http://schemas.openxmlformats.org/officeDocument/2006/relationships" type="up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1">
  <dgm:title val=""/>
  <dgm:desc val=""/>
  <dgm:catLst>
    <dgm:cat type="relationship" pri="7000"/>
    <dgm:cat type="process" pri="3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0.1"/>
          <dgm:constr type="diam" refType="w" refFor="ch" refPtType="node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"/>
        </dgm:constrLst>
      </dgm:if>
      <dgm:if name="Name13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15"/>
        </dgm:constrLst>
      </dgm:if>
      <dgm:if name="Name14" axis="ch" ptType="node" func="cnt" op="equ" val="10">
        <dgm:constrLst>
          <dgm:constr type="primFontSz" for="ch" ptType="node" op="lte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else name="Name1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35"/>
        </dgm:constrLst>
      </dgm:else>
    </dgm:choose>
    <dgm:ruleLst/>
    <dgm:forEach name="Name16" axis="ch" ptType="node">
      <dgm:layoutNode name="arrow">
        <dgm:varLst>
          <dgm:bulletEnabled val="1"/>
        </dgm:varLst>
        <dgm:alg type="tx"/>
        <dgm:shape xmlns:r="http://schemas.openxmlformats.org/officeDocument/2006/relationships" type="up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5BDF1D6-25AD-4C83-A668-168AF4235992}" type="datetimeFigureOut">
              <a:rPr lang="en-US" smtClean="0"/>
              <a:t>6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743A6AB-4A10-41FC-A77F-E54EA70772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0968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998761B-78D9-4796-BA11-E15C43A73DA9}" type="datetimeFigureOut">
              <a:rPr lang="en-US"/>
              <a:pPr>
                <a:defRPr/>
              </a:pPr>
              <a:t>6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976566" y="486848"/>
            <a:ext cx="3057268" cy="2292951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97708" y="3002692"/>
            <a:ext cx="6524368" cy="6005384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9CBDD0F-3054-4704-BA47-1610C32B5F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3069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ts val="12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15888" indent="-115888" algn="l" rtl="0" fontAlgn="base">
      <a:spcBef>
        <a:spcPts val="400"/>
      </a:spcBef>
      <a:spcAft>
        <a:spcPct val="0"/>
      </a:spcAft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231775" indent="-115888" algn="l" rtl="0" fontAlgn="base">
      <a:spcBef>
        <a:spcPct val="30000"/>
      </a:spcBef>
      <a:spcAft>
        <a:spcPct val="0"/>
      </a:spcAft>
      <a:buFont typeface="Calibri" panose="020F0502020204030204" pitchFamily="34" charset="0"/>
      <a:buChar char="–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341313" indent="-109538" algn="l" rtl="0" fontAlgn="base">
      <a:spcBef>
        <a:spcPct val="30000"/>
      </a:spcBef>
      <a:spcAft>
        <a:spcPct val="0"/>
      </a:spcAft>
      <a:buFont typeface="Calibri" panose="020F0502020204030204" pitchFamily="34" charset="0"/>
      <a:buChar char="»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00250" indent="-171450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50" dirty="0"/>
              <a:t>Thank the audience and the organizers</a:t>
            </a:r>
            <a:endParaRPr lang="en-US" sz="1050" b="1" dirty="0"/>
          </a:p>
          <a:p>
            <a:pPr marL="0" lvl="1" indent="0">
              <a:spcBef>
                <a:spcPts val="0"/>
              </a:spcBef>
              <a:buNone/>
            </a:pPr>
            <a:endParaRPr lang="en-US" sz="10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0157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571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5405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2999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7438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3912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3711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8323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3493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ad alerts – false posit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4465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403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6216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191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7016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152698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1372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46007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3379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was going to automate a bad process.  Instead of reducing toil, I was going to create 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318358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9853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1350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466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6120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4088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91962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lex decision: do nothing, roll back, use degraded failover, manually adjust infrastru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41147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82899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38730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486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9375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6650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752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CBDD0F-3054-4704-BA47-1610C32B5F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642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158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76438" y="487363"/>
            <a:ext cx="3057525" cy="229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BDD0F-3054-4704-BA47-1610C32B5FC2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6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7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026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/>
              <a:t>Date</a:t>
            </a:r>
            <a:endParaRPr lang="en-US" dirty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28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7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8217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264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/>
              <a:t>Date</a:t>
            </a:r>
            <a:endParaRPr lang="en-US" dirty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28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7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9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1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321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238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857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>
                <a:solidFill>
                  <a:schemeClr val="accent1"/>
                </a:solidFill>
              </a:defRPr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43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79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28" name="Group 27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29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940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054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  <p:sp>
        <p:nvSpPr>
          <p:cNvPr id="26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76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515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9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961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89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0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2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67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996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/>
              <a:t>Date</a:t>
            </a:r>
            <a:endParaRPr lang="en-US" dirty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28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7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9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1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271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44807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78372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18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72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28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5" name="Flowchart: Data 4"/>
          <p:cNvSpPr/>
          <p:nvPr userDrawn="1"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737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706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212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40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 smtClean="0">
                <a:solidFill>
                  <a:schemeClr val="tx1"/>
                </a:solidFill>
              </a:defRPr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80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213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003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303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dirty="0" smtClean="0">
                <a:solidFill>
                  <a:schemeClr val="tx1"/>
                </a:solidFill>
              </a:defRPr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526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32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427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297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63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952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91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28" name="Group 27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29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13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513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358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0845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31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59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6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11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6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7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6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829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/>
              <a:t>Date</a:t>
            </a:r>
            <a:endParaRPr lang="en-US" dirty="0"/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4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6700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78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996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549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5" name="Flowchart: Data 4"/>
          <p:cNvSpPr/>
          <p:nvPr userDrawn="1"/>
        </p:nvSpPr>
        <p:spPr bwMode="auto">
          <a:xfrm>
            <a:off x="0" y="0"/>
            <a:ext cx="3558474" cy="461430"/>
          </a:xfrm>
          <a:custGeom>
            <a:avLst/>
            <a:gdLst/>
            <a:ahLst/>
            <a:cxnLst/>
            <a:rect l="l" t="t" r="r" b="b"/>
            <a:pathLst>
              <a:path w="3558474" h="461430">
                <a:moveTo>
                  <a:pt x="0" y="0"/>
                </a:moveTo>
                <a:lnTo>
                  <a:pt x="3558474" y="0"/>
                </a:lnTo>
                <a:lnTo>
                  <a:pt x="3294039" y="461430"/>
                </a:lnTo>
                <a:lnTo>
                  <a:pt x="0" y="46143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1475" y="0"/>
            <a:ext cx="3008313" cy="461963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>
              <a:defRPr sz="1100" b="0">
                <a:solidFill>
                  <a:schemeClr val="bg1"/>
                </a:solidFill>
              </a:defRPr>
            </a:lvl2pPr>
            <a:lvl3pPr>
              <a:defRPr sz="1100" b="0">
                <a:solidFill>
                  <a:schemeClr val="bg1"/>
                </a:solidFill>
              </a:defRPr>
            </a:lvl3pPr>
            <a:lvl4pPr>
              <a:defRPr sz="1100" b="0">
                <a:solidFill>
                  <a:schemeClr val="bg1"/>
                </a:solidFill>
              </a:defRPr>
            </a:lvl4pPr>
            <a:lvl5pPr>
              <a:defRPr sz="11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3884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22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4038600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586288" y="1206500"/>
            <a:ext cx="4041648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69963" indent="-279400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760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1206500"/>
            <a:ext cx="2725102" cy="43434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buFont typeface="Arial" panose="020B0604020202020204" pitchFamily="34" charset="0"/>
              <a:buChar char="»"/>
              <a:defRPr sz="1400"/>
            </a:lvl3pPr>
            <a:lvl4pPr marL="690563" indent="-233363">
              <a:defRPr sz="1200"/>
            </a:lvl4pPr>
            <a:lvl5pPr marL="974725" indent="-284163">
              <a:defRPr sz="1200"/>
            </a:lvl5pPr>
            <a:lvl6pPr>
              <a:buNone/>
              <a:defRPr/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3217482" y="1206500"/>
            <a:ext cx="2724912" cy="433863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>
          <a:xfrm>
            <a:off x="6071235" y="1206500"/>
            <a:ext cx="2736850" cy="43576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1"/>
            </a:lvl1pPr>
            <a:lvl2pPr marL="233363" indent="-233363">
              <a:defRPr sz="1400"/>
            </a:lvl2pPr>
            <a:lvl3pPr marL="457200" indent="-223838">
              <a:defRPr sz="1400"/>
            </a:lvl3pPr>
            <a:lvl4pPr marL="690563" indent="-233363">
              <a:defRPr sz="1200"/>
            </a:lvl4pPr>
            <a:lvl5pPr marL="914400" indent="-223838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886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159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>
                <a:solidFill>
                  <a:srgbClr val="38454F"/>
                </a:solidFill>
              </a:rPr>
              <a:pPr/>
              <a:t>‹#›</a:t>
            </a:fld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806497" y="1711708"/>
            <a:ext cx="7559581" cy="40640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56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noProof="0" dirty="0" smtClean="0">
                <a:solidFill>
                  <a:schemeClr val="tx1"/>
                </a:solidFill>
              </a:defRPr>
            </a:lvl1pPr>
            <a:lvl2pPr>
              <a:defRPr lang="en-US" sz="1600" noProof="0" dirty="0" smtClean="0"/>
            </a:lvl2pPr>
            <a:lvl3pPr>
              <a:defRPr lang="en-US" sz="1600" noProof="0" dirty="0" smtClean="0"/>
            </a:lvl3pPr>
            <a:lvl4pPr>
              <a:defRPr lang="en-US" sz="1400" noProof="0" dirty="0" smtClean="0"/>
            </a:lvl4pPr>
            <a:lvl5pPr>
              <a:defRPr lang="en-US" sz="14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700207" y="2330450"/>
            <a:ext cx="406908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0" dirty="0" smtClean="0">
                <a:solidFill>
                  <a:schemeClr val="tx1"/>
                </a:solidFill>
              </a:defRPr>
            </a:lvl1pPr>
            <a:lvl2pPr>
              <a:defRPr lang="en-US" sz="16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  <a:lvl5pPr>
              <a:defRPr lang="en-US" sz="14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4700207" y="1646051"/>
            <a:ext cx="4069080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0" indent="0" algn="ctr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588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3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3254777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3257952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6146016" y="2330450"/>
            <a:ext cx="2623502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>
                <a:solidFill>
                  <a:schemeClr val="tx1"/>
                </a:solidFill>
              </a:defRPr>
            </a:lvl2pPr>
            <a:lvl3pPr>
              <a:defRPr lang="en-US" sz="1400" noProof="0" dirty="0" smtClean="0">
                <a:solidFill>
                  <a:schemeClr val="tx1"/>
                </a:solidFill>
              </a:defRPr>
            </a:lvl3pPr>
            <a:lvl4pPr>
              <a:defRPr lang="en-US" sz="1200" noProof="0" dirty="0" smtClean="0">
                <a:solidFill>
                  <a:schemeClr val="tx1"/>
                </a:solidFill>
              </a:defRPr>
            </a:lvl4pPr>
            <a:lvl5pPr>
              <a:defRPr lang="en-US" sz="1200" noProof="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6149191" y="1646051"/>
            <a:ext cx="2638229" cy="556634"/>
          </a:xfrm>
          <a:prstGeom prst="rect">
            <a:avLst/>
          </a:prstGeom>
          <a:solidFill>
            <a:schemeClr val="accent2"/>
          </a:solidFill>
        </p:spPr>
        <p:txBody>
          <a:bodyPr lIns="45720" tIns="45720" rIns="45720" b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120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36353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353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5"/>
          </p:nvPr>
        </p:nvSpPr>
        <p:spPr>
          <a:xfrm>
            <a:off x="2524655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6"/>
            <p:custDataLst>
              <p:tags r:id="rId2"/>
            </p:custDataLst>
          </p:nvPr>
        </p:nvSpPr>
        <p:spPr>
          <a:xfrm>
            <a:off x="252571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27"/>
          </p:nvPr>
        </p:nvSpPr>
        <p:spPr>
          <a:xfrm>
            <a:off x="4685772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8"/>
            <p:custDataLst>
              <p:tags r:id="rId3"/>
            </p:custDataLst>
          </p:nvPr>
        </p:nvSpPr>
        <p:spPr>
          <a:xfrm>
            <a:off x="4687888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9"/>
          </p:nvPr>
        </p:nvSpPr>
        <p:spPr>
          <a:xfrm>
            <a:off x="6846888" y="2330450"/>
            <a:ext cx="1920240" cy="38052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30"/>
            <p:custDataLst>
              <p:tags r:id="rId4"/>
            </p:custDataLst>
          </p:nvPr>
        </p:nvSpPr>
        <p:spPr>
          <a:xfrm>
            <a:off x="6850063" y="1646051"/>
            <a:ext cx="1920240" cy="556634"/>
          </a:xfrm>
          <a:prstGeom prst="rect">
            <a:avLst/>
          </a:prstGeom>
          <a:solidFill>
            <a:schemeClr val="accent2"/>
          </a:solidFill>
        </p:spPr>
        <p:txBody>
          <a:bodyPr lIns="45720" rIns="45720" anchor="ctr"/>
          <a:lstStyle>
            <a:lvl1pPr marL="4763" indent="0" algn="ctr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78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74563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noProof="0" dirty="0" smtClean="0">
                <a:solidFill>
                  <a:schemeClr val="tx1"/>
                </a:solidFill>
              </a:defRPr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888152"/>
            <a:ext cx="6158232" cy="2011680"/>
          </a:xfrm>
        </p:spPr>
        <p:txBody>
          <a:bodyPr vert="horz" lIns="0" tIns="0" rIns="0" bIns="0" rtlCol="0">
            <a:noAutofit/>
          </a:bodyPr>
          <a:lstStyle>
            <a:lvl1pPr>
              <a:defRPr lang="en-US" b="0" dirty="0" smtClean="0">
                <a:solidFill>
                  <a:schemeClr val="tx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74563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888152"/>
            <a:ext cx="2102167" cy="201168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001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46049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21600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46049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21601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97152"/>
            <a:ext cx="6158232" cy="13716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97152"/>
            <a:ext cx="2102167" cy="1371600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523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z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528360"/>
            <a:ext cx="6158232" cy="10463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08138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528360"/>
            <a:ext cx="2102167" cy="1046351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08138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883981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883981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59823"/>
            <a:ext cx="6158232" cy="10424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59823"/>
            <a:ext cx="2102167" cy="1042416"/>
          </a:xfrm>
          <a:prstGeom prst="rect">
            <a:avLst/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02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893767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4035305"/>
            <a:ext cx="6158232" cy="173736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893767"/>
            <a:ext cx="2102167" cy="173736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4035305"/>
            <a:ext cx="2102167" cy="173736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359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5396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  <a:lvl4pPr>
              <a:defRPr lang="en-US" sz="1200" noProof="0" dirty="0" smtClean="0"/>
            </a:lvl4pPr>
            <a:lvl5pPr>
              <a:defRPr lang="en-US" sz="1200" noProof="0" dirty="0" smtClean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3202716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53961"/>
            <a:ext cx="2102167" cy="123444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3202716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4751471"/>
            <a:ext cx="6158232" cy="123444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200" dirty="0" smtClean="0"/>
            </a:lvl4pPr>
            <a:lvl5pPr>
              <a:defRPr lang="en-US" sz="12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4751471"/>
            <a:ext cx="2102167" cy="123444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88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Split Content with Headers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526244" cy="34747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2621280" y="160869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noProof="0" dirty="0" smtClean="0">
                <a:solidFill>
                  <a:schemeClr val="tx1"/>
                </a:solidFill>
              </a:defRPr>
            </a:lvl1pPr>
            <a:lvl2pPr>
              <a:defRPr lang="en-US" sz="1400" noProof="0" dirty="0" smtClean="0"/>
            </a:lvl2pPr>
            <a:lvl3pPr>
              <a:defRPr lang="en-US" sz="1400" noProof="0" dirty="0" smtClean="0"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2622231" y="2761213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608696"/>
            <a:ext cx="2102167" cy="960120"/>
          </a:xfrm>
          <a:prstGeom prst="homePlate">
            <a:avLst>
              <a:gd name="adj" fmla="val 24747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4763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2761213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26"/>
          </p:nvPr>
        </p:nvSpPr>
        <p:spPr>
          <a:xfrm>
            <a:off x="2622231" y="3913730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7"/>
            <p:custDataLst>
              <p:tags r:id="rId3"/>
            </p:custDataLst>
          </p:nvPr>
        </p:nvSpPr>
        <p:spPr>
          <a:xfrm>
            <a:off x="366712" y="3913730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8"/>
          </p:nvPr>
        </p:nvSpPr>
        <p:spPr>
          <a:xfrm>
            <a:off x="2622231" y="5066246"/>
            <a:ext cx="6158232" cy="96012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600" b="0" dirty="0" smtClean="0">
                <a:solidFill>
                  <a:schemeClr val="tx1"/>
                </a:solidFill>
              </a:defRPr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9"/>
            <p:custDataLst>
              <p:tags r:id="rId4"/>
            </p:custDataLst>
          </p:nvPr>
        </p:nvSpPr>
        <p:spPr>
          <a:xfrm>
            <a:off x="366712" y="5066246"/>
            <a:ext cx="2102167" cy="960120"/>
          </a:xfrm>
          <a:prstGeom prst="homePlate">
            <a:avLst>
              <a:gd name="adj" fmla="val 25253"/>
            </a:avLst>
          </a:prstGeom>
          <a:solidFill>
            <a:schemeClr val="accent2"/>
          </a:solidFill>
        </p:spPr>
        <p:txBody>
          <a:bodyPr lIns="91440" tIns="45720" rIns="91440" bIns="45720" anchor="ctr"/>
          <a:lstStyle>
            <a:lvl1pPr marL="0" indent="0" algn="l">
              <a:buNone/>
              <a:defRPr sz="1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917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943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8" name="Group 27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29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0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4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395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410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22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1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393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055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10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2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2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043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464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8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3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5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72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555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454F"/>
              </a:solidFill>
            </a:endParaRPr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2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0" y="0"/>
            <a:ext cx="9144000" cy="6216650"/>
          </a:xfrm>
          <a:prstGeom prst="rect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0" name="Rectangle 16"/>
          <p:cNvSpPr/>
          <p:nvPr userDrawn="1"/>
        </p:nvSpPr>
        <p:spPr bwMode="auto">
          <a:xfrm>
            <a:off x="0" y="0"/>
            <a:ext cx="6496088" cy="6216650"/>
          </a:xfrm>
          <a:custGeom>
            <a:avLst/>
            <a:gdLst/>
            <a:ahLst/>
            <a:cxnLst/>
            <a:rect l="l" t="t" r="r" b="b"/>
            <a:pathLst>
              <a:path w="6496088" h="6216650">
                <a:moveTo>
                  <a:pt x="0" y="0"/>
                </a:moveTo>
                <a:lnTo>
                  <a:pt x="6496088" y="0"/>
                </a:lnTo>
                <a:cubicBezTo>
                  <a:pt x="6224151" y="475381"/>
                  <a:pt x="2923062" y="6156962"/>
                  <a:pt x="2900554" y="6216650"/>
                </a:cubicBezTo>
                <a:lnTo>
                  <a:pt x="0" y="62166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1" name="Rectangle 12"/>
          <p:cNvSpPr/>
          <p:nvPr userDrawn="1"/>
        </p:nvSpPr>
        <p:spPr bwMode="auto">
          <a:xfrm>
            <a:off x="1" y="0"/>
            <a:ext cx="1179707" cy="2041416"/>
          </a:xfrm>
          <a:custGeom>
            <a:avLst/>
            <a:gdLst/>
            <a:ahLst/>
            <a:cxnLst/>
            <a:rect l="l" t="t" r="r" b="b"/>
            <a:pathLst>
              <a:path w="1179707" h="2041416">
                <a:moveTo>
                  <a:pt x="0" y="0"/>
                </a:moveTo>
                <a:lnTo>
                  <a:pt x="1179707" y="0"/>
                </a:lnTo>
                <a:cubicBezTo>
                  <a:pt x="667559" y="883988"/>
                  <a:pt x="213348" y="1669135"/>
                  <a:pt x="0" y="2041416"/>
                </a:cubicBez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2" name="Rectangle 9"/>
          <p:cNvSpPr/>
          <p:nvPr userDrawn="1"/>
        </p:nvSpPr>
        <p:spPr bwMode="auto">
          <a:xfrm>
            <a:off x="7596336" y="3534372"/>
            <a:ext cx="1547664" cy="2682279"/>
          </a:xfrm>
          <a:custGeom>
            <a:avLst/>
            <a:gdLst/>
            <a:ahLst/>
            <a:cxnLst/>
            <a:rect l="l" t="t" r="r" b="b"/>
            <a:pathLst>
              <a:path w="1547664" h="2682279">
                <a:moveTo>
                  <a:pt x="1547664" y="0"/>
                </a:moveTo>
                <a:lnTo>
                  <a:pt x="1547664" y="2682279"/>
                </a:lnTo>
                <a:lnTo>
                  <a:pt x="0" y="2682279"/>
                </a:lnTo>
                <a:cubicBezTo>
                  <a:pt x="10572" y="2654246"/>
                  <a:pt x="744233" y="1386307"/>
                  <a:pt x="1547664" y="0"/>
                </a:cubicBez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13" name="Rectangle 17"/>
          <p:cNvSpPr/>
          <p:nvPr userDrawn="1"/>
        </p:nvSpPr>
        <p:spPr bwMode="auto">
          <a:xfrm>
            <a:off x="8596064" y="5261240"/>
            <a:ext cx="547936" cy="955410"/>
          </a:xfrm>
          <a:custGeom>
            <a:avLst/>
            <a:gdLst/>
            <a:ahLst/>
            <a:cxnLst/>
            <a:rect l="l" t="t" r="r" b="b"/>
            <a:pathLst>
              <a:path w="547936" h="955410">
                <a:moveTo>
                  <a:pt x="547936" y="0"/>
                </a:moveTo>
                <a:lnTo>
                  <a:pt x="547936" y="955410"/>
                </a:lnTo>
                <a:lnTo>
                  <a:pt x="0" y="955410"/>
                </a:lnTo>
                <a:cubicBezTo>
                  <a:pt x="5725" y="940240"/>
                  <a:pt x="222775" y="562702"/>
                  <a:pt x="547936" y="0"/>
                </a:cubicBezTo>
                <a:close/>
              </a:path>
            </a:pathLst>
          </a:custGeom>
          <a:solidFill>
            <a:srgbClr val="A1052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578" y="2431217"/>
            <a:ext cx="8526244" cy="677108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DCEA-E18D-4523-BF91-873425F15DC2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43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 bwMode="auto">
          <a:xfrm>
            <a:off x="6661150" y="0"/>
            <a:ext cx="2503488" cy="6858000"/>
          </a:xfrm>
          <a:custGeom>
            <a:avLst/>
            <a:gdLst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491822 w 2503488"/>
              <a:gd name="connsiteY4" fmla="*/ 1681542 h 6858000"/>
              <a:gd name="connsiteX5" fmla="*/ 2503488 w 2503488"/>
              <a:gd name="connsiteY5" fmla="*/ 1701801 h 6858000"/>
              <a:gd name="connsiteX6" fmla="*/ 2503488 w 2503488"/>
              <a:gd name="connsiteY6" fmla="*/ 3879850 h 6858000"/>
              <a:gd name="connsiteX7" fmla="*/ 2503488 w 2503488"/>
              <a:gd name="connsiteY7" fmla="*/ 3879851 h 6858000"/>
              <a:gd name="connsiteX8" fmla="*/ 2503488 w 2503488"/>
              <a:gd name="connsiteY8" fmla="*/ 6057900 h 6858000"/>
              <a:gd name="connsiteX9" fmla="*/ 2039938 w 2503488"/>
              <a:gd name="connsiteY9" fmla="*/ 6858000 h 6858000"/>
              <a:gd name="connsiteX10" fmla="*/ 1722438 w 2503488"/>
              <a:gd name="connsiteY10" fmla="*/ 6858000 h 6858000"/>
              <a:gd name="connsiteX11" fmla="*/ 1 w 2503488"/>
              <a:gd name="connsiteY11" fmla="*/ 3879851 h 6858000"/>
              <a:gd name="connsiteX12" fmla="*/ 0 w 2503488"/>
              <a:gd name="connsiteY12" fmla="*/ 3879851 h 6858000"/>
              <a:gd name="connsiteX13" fmla="*/ 0 w 2503488"/>
              <a:gd name="connsiteY13" fmla="*/ 3879850 h 6858000"/>
              <a:gd name="connsiteX14" fmla="*/ 1 w 2503488"/>
              <a:gd name="connsiteY14" fmla="*/ 3879850 h 6858000"/>
              <a:gd name="connsiteX15" fmla="*/ 1722691 w 2503488"/>
              <a:gd name="connsiteY15" fmla="*/ 900729 h 6858000"/>
              <a:gd name="connsiteX16" fmla="*/ 1766524 w 2503488"/>
              <a:gd name="connsiteY16" fmla="*/ 824925 h 6858000"/>
              <a:gd name="connsiteX17" fmla="*/ 1882775 w 2503488"/>
              <a:gd name="connsiteY17" fmla="*/ 623888 h 6858000"/>
              <a:gd name="connsiteX18" fmla="*/ 1902681 w 2503488"/>
              <a:gd name="connsiteY18" fmla="*/ 658455 h 6858000"/>
              <a:gd name="connsiteX19" fmla="*/ 1882775 w 2503488"/>
              <a:gd name="connsiteY19" fmla="*/ 623887 h 6858000"/>
              <a:gd name="connsiteX20" fmla="*/ 2241550 w 2503488"/>
              <a:gd name="connsiteY20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491822 w 2503488"/>
              <a:gd name="connsiteY3" fmla="*/ 1681541 h 6858000"/>
              <a:gd name="connsiteX4" fmla="*/ 2503488 w 2503488"/>
              <a:gd name="connsiteY4" fmla="*/ 1701801 h 6858000"/>
              <a:gd name="connsiteX5" fmla="*/ 2503488 w 2503488"/>
              <a:gd name="connsiteY5" fmla="*/ 3879850 h 6858000"/>
              <a:gd name="connsiteX6" fmla="*/ 2503488 w 2503488"/>
              <a:gd name="connsiteY6" fmla="*/ 3879851 h 6858000"/>
              <a:gd name="connsiteX7" fmla="*/ 2503488 w 2503488"/>
              <a:gd name="connsiteY7" fmla="*/ 6057900 h 6858000"/>
              <a:gd name="connsiteX8" fmla="*/ 2039938 w 2503488"/>
              <a:gd name="connsiteY8" fmla="*/ 6858000 h 6858000"/>
              <a:gd name="connsiteX9" fmla="*/ 1722438 w 2503488"/>
              <a:gd name="connsiteY9" fmla="*/ 6858000 h 6858000"/>
              <a:gd name="connsiteX10" fmla="*/ 1 w 2503488"/>
              <a:gd name="connsiteY10" fmla="*/ 3879851 h 6858000"/>
              <a:gd name="connsiteX11" fmla="*/ 0 w 2503488"/>
              <a:gd name="connsiteY11" fmla="*/ 3879851 h 6858000"/>
              <a:gd name="connsiteX12" fmla="*/ 0 w 2503488"/>
              <a:gd name="connsiteY12" fmla="*/ 3879850 h 6858000"/>
              <a:gd name="connsiteX13" fmla="*/ 1 w 2503488"/>
              <a:gd name="connsiteY13" fmla="*/ 3879850 h 6858000"/>
              <a:gd name="connsiteX14" fmla="*/ 1722691 w 2503488"/>
              <a:gd name="connsiteY14" fmla="*/ 900729 h 6858000"/>
              <a:gd name="connsiteX15" fmla="*/ 1766524 w 2503488"/>
              <a:gd name="connsiteY15" fmla="*/ 824925 h 6858000"/>
              <a:gd name="connsiteX16" fmla="*/ 1882775 w 2503488"/>
              <a:gd name="connsiteY16" fmla="*/ 623888 h 6858000"/>
              <a:gd name="connsiteX17" fmla="*/ 1902681 w 2503488"/>
              <a:gd name="connsiteY17" fmla="*/ 658455 h 6858000"/>
              <a:gd name="connsiteX18" fmla="*/ 1882775 w 2503488"/>
              <a:gd name="connsiteY18" fmla="*/ 623887 h 6858000"/>
              <a:gd name="connsiteX19" fmla="*/ 2241550 w 2503488"/>
              <a:gd name="connsiteY19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1701801 h 6858000"/>
              <a:gd name="connsiteX4" fmla="*/ 2503488 w 2503488"/>
              <a:gd name="connsiteY4" fmla="*/ 3879850 h 6858000"/>
              <a:gd name="connsiteX5" fmla="*/ 2503488 w 2503488"/>
              <a:gd name="connsiteY5" fmla="*/ 3879851 h 6858000"/>
              <a:gd name="connsiteX6" fmla="*/ 2503488 w 2503488"/>
              <a:gd name="connsiteY6" fmla="*/ 6057900 h 6858000"/>
              <a:gd name="connsiteX7" fmla="*/ 2039938 w 2503488"/>
              <a:gd name="connsiteY7" fmla="*/ 6858000 h 6858000"/>
              <a:gd name="connsiteX8" fmla="*/ 1722438 w 2503488"/>
              <a:gd name="connsiteY8" fmla="*/ 6858000 h 6858000"/>
              <a:gd name="connsiteX9" fmla="*/ 1 w 2503488"/>
              <a:gd name="connsiteY9" fmla="*/ 3879851 h 6858000"/>
              <a:gd name="connsiteX10" fmla="*/ 0 w 2503488"/>
              <a:gd name="connsiteY10" fmla="*/ 3879851 h 6858000"/>
              <a:gd name="connsiteX11" fmla="*/ 0 w 2503488"/>
              <a:gd name="connsiteY11" fmla="*/ 3879850 h 6858000"/>
              <a:gd name="connsiteX12" fmla="*/ 1 w 2503488"/>
              <a:gd name="connsiteY12" fmla="*/ 3879850 h 6858000"/>
              <a:gd name="connsiteX13" fmla="*/ 1722691 w 2503488"/>
              <a:gd name="connsiteY13" fmla="*/ 900729 h 6858000"/>
              <a:gd name="connsiteX14" fmla="*/ 1766524 w 2503488"/>
              <a:gd name="connsiteY14" fmla="*/ 824925 h 6858000"/>
              <a:gd name="connsiteX15" fmla="*/ 1882775 w 2503488"/>
              <a:gd name="connsiteY15" fmla="*/ 623888 h 6858000"/>
              <a:gd name="connsiteX16" fmla="*/ 1902681 w 2503488"/>
              <a:gd name="connsiteY16" fmla="*/ 658455 h 6858000"/>
              <a:gd name="connsiteX17" fmla="*/ 1882775 w 2503488"/>
              <a:gd name="connsiteY17" fmla="*/ 623887 h 6858000"/>
              <a:gd name="connsiteX18" fmla="*/ 2241550 w 2503488"/>
              <a:gd name="connsiteY18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1701800 h 6858000"/>
              <a:gd name="connsiteX3" fmla="*/ 2503488 w 2503488"/>
              <a:gd name="connsiteY3" fmla="*/ 3879850 h 6858000"/>
              <a:gd name="connsiteX4" fmla="*/ 2503488 w 2503488"/>
              <a:gd name="connsiteY4" fmla="*/ 3879851 h 6858000"/>
              <a:gd name="connsiteX5" fmla="*/ 2503488 w 2503488"/>
              <a:gd name="connsiteY5" fmla="*/ 6057900 h 6858000"/>
              <a:gd name="connsiteX6" fmla="*/ 2039938 w 2503488"/>
              <a:gd name="connsiteY6" fmla="*/ 6858000 h 6858000"/>
              <a:gd name="connsiteX7" fmla="*/ 1722438 w 2503488"/>
              <a:gd name="connsiteY7" fmla="*/ 6858000 h 6858000"/>
              <a:gd name="connsiteX8" fmla="*/ 1 w 2503488"/>
              <a:gd name="connsiteY8" fmla="*/ 3879851 h 6858000"/>
              <a:gd name="connsiteX9" fmla="*/ 0 w 2503488"/>
              <a:gd name="connsiteY9" fmla="*/ 3879851 h 6858000"/>
              <a:gd name="connsiteX10" fmla="*/ 0 w 2503488"/>
              <a:gd name="connsiteY10" fmla="*/ 3879850 h 6858000"/>
              <a:gd name="connsiteX11" fmla="*/ 1 w 2503488"/>
              <a:gd name="connsiteY11" fmla="*/ 3879850 h 6858000"/>
              <a:gd name="connsiteX12" fmla="*/ 1722691 w 2503488"/>
              <a:gd name="connsiteY12" fmla="*/ 900729 h 6858000"/>
              <a:gd name="connsiteX13" fmla="*/ 1766524 w 2503488"/>
              <a:gd name="connsiteY13" fmla="*/ 824925 h 6858000"/>
              <a:gd name="connsiteX14" fmla="*/ 1882775 w 2503488"/>
              <a:gd name="connsiteY14" fmla="*/ 623888 h 6858000"/>
              <a:gd name="connsiteX15" fmla="*/ 1902681 w 2503488"/>
              <a:gd name="connsiteY15" fmla="*/ 658455 h 6858000"/>
              <a:gd name="connsiteX16" fmla="*/ 1882775 w 2503488"/>
              <a:gd name="connsiteY16" fmla="*/ 623887 h 6858000"/>
              <a:gd name="connsiteX17" fmla="*/ 2241550 w 2503488"/>
              <a:gd name="connsiteY17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902681 w 2503488"/>
              <a:gd name="connsiteY14" fmla="*/ 658455 h 6858000"/>
              <a:gd name="connsiteX15" fmla="*/ 1882775 w 2503488"/>
              <a:gd name="connsiteY15" fmla="*/ 623887 h 6858000"/>
              <a:gd name="connsiteX16" fmla="*/ 2241550 w 2503488"/>
              <a:gd name="connsiteY16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1882775 w 2503488"/>
              <a:gd name="connsiteY14" fmla="*/ 623887 h 6858000"/>
              <a:gd name="connsiteX15" fmla="*/ 2241550 w 2503488"/>
              <a:gd name="connsiteY15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1882775 w 2503488"/>
              <a:gd name="connsiteY13" fmla="*/ 623888 h 6858000"/>
              <a:gd name="connsiteX14" fmla="*/ 2241550 w 2503488"/>
              <a:gd name="connsiteY14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22691 w 2503488"/>
              <a:gd name="connsiteY11" fmla="*/ 900729 h 6858000"/>
              <a:gd name="connsiteX12" fmla="*/ 1766524 w 2503488"/>
              <a:gd name="connsiteY12" fmla="*/ 824925 h 6858000"/>
              <a:gd name="connsiteX13" fmla="*/ 2241550 w 2503488"/>
              <a:gd name="connsiteY13" fmla="*/ 0 h 6858000"/>
              <a:gd name="connsiteX0" fmla="*/ 2241550 w 2503488"/>
              <a:gd name="connsiteY0" fmla="*/ 0 h 6858000"/>
              <a:gd name="connsiteX1" fmla="*/ 2503488 w 2503488"/>
              <a:gd name="connsiteY1" fmla="*/ 0 h 6858000"/>
              <a:gd name="connsiteX2" fmla="*/ 2503488 w 2503488"/>
              <a:gd name="connsiteY2" fmla="*/ 3879850 h 6858000"/>
              <a:gd name="connsiteX3" fmla="*/ 2503488 w 2503488"/>
              <a:gd name="connsiteY3" fmla="*/ 3879851 h 6858000"/>
              <a:gd name="connsiteX4" fmla="*/ 2503488 w 2503488"/>
              <a:gd name="connsiteY4" fmla="*/ 6057900 h 6858000"/>
              <a:gd name="connsiteX5" fmla="*/ 2039938 w 2503488"/>
              <a:gd name="connsiteY5" fmla="*/ 6858000 h 6858000"/>
              <a:gd name="connsiteX6" fmla="*/ 1722438 w 2503488"/>
              <a:gd name="connsiteY6" fmla="*/ 6858000 h 6858000"/>
              <a:gd name="connsiteX7" fmla="*/ 1 w 2503488"/>
              <a:gd name="connsiteY7" fmla="*/ 3879851 h 6858000"/>
              <a:gd name="connsiteX8" fmla="*/ 0 w 2503488"/>
              <a:gd name="connsiteY8" fmla="*/ 3879851 h 6858000"/>
              <a:gd name="connsiteX9" fmla="*/ 0 w 2503488"/>
              <a:gd name="connsiteY9" fmla="*/ 3879850 h 6858000"/>
              <a:gd name="connsiteX10" fmla="*/ 1 w 2503488"/>
              <a:gd name="connsiteY10" fmla="*/ 3879850 h 6858000"/>
              <a:gd name="connsiteX11" fmla="*/ 1766524 w 2503488"/>
              <a:gd name="connsiteY11" fmla="*/ 824925 h 6858000"/>
              <a:gd name="connsiteX12" fmla="*/ 2241550 w 2503488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03488" h="6858000">
                <a:moveTo>
                  <a:pt x="2241550" y="0"/>
                </a:moveTo>
                <a:lnTo>
                  <a:pt x="2503488" y="0"/>
                </a:lnTo>
                <a:lnTo>
                  <a:pt x="2503488" y="3879850"/>
                </a:lnTo>
                <a:lnTo>
                  <a:pt x="2503488" y="3879851"/>
                </a:lnTo>
                <a:lnTo>
                  <a:pt x="2503488" y="6057900"/>
                </a:lnTo>
                <a:lnTo>
                  <a:pt x="2039938" y="6858000"/>
                </a:lnTo>
                <a:lnTo>
                  <a:pt x="1722438" y="6858000"/>
                </a:lnTo>
                <a:lnTo>
                  <a:pt x="1" y="3879851"/>
                </a:lnTo>
                <a:lnTo>
                  <a:pt x="0" y="3879851"/>
                </a:lnTo>
                <a:lnTo>
                  <a:pt x="0" y="3879850"/>
                </a:lnTo>
                <a:lnTo>
                  <a:pt x="1" y="3879850"/>
                </a:lnTo>
                <a:lnTo>
                  <a:pt x="1766524" y="824925"/>
                </a:lnTo>
                <a:lnTo>
                  <a:pt x="22415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420553" y="0"/>
            <a:ext cx="4742180" cy="3877946"/>
          </a:xfrm>
          <a:custGeom>
            <a:avLst/>
            <a:gdLst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121467 w 4742180"/>
              <a:gd name="connsiteY3" fmla="*/ 621983 h 3877946"/>
              <a:gd name="connsiteX4" fmla="*/ 4742180 w 4742180"/>
              <a:gd name="connsiteY4" fmla="*/ 1699896 h 3877946"/>
              <a:gd name="connsiteX5" fmla="*/ 4742180 w 4742180"/>
              <a:gd name="connsiteY5" fmla="*/ 3877946 h 3877946"/>
              <a:gd name="connsiteX6" fmla="*/ 2238693 w 4742180"/>
              <a:gd name="connsiteY6" fmla="*/ 3877946 h 3877946"/>
              <a:gd name="connsiteX7" fmla="*/ 2238692 w 4742180"/>
              <a:gd name="connsiteY7" fmla="*/ 3877946 h 3877946"/>
              <a:gd name="connsiteX8" fmla="*/ 2238692 w 4742180"/>
              <a:gd name="connsiteY8" fmla="*/ 3877945 h 3877946"/>
              <a:gd name="connsiteX9" fmla="*/ 2238693 w 4742180"/>
              <a:gd name="connsiteY9" fmla="*/ 3877945 h 3877946"/>
              <a:gd name="connsiteX10" fmla="*/ 2238778 w 4742180"/>
              <a:gd name="connsiteY10" fmla="*/ 3877798 h 3877946"/>
              <a:gd name="connsiteX11" fmla="*/ 0 w 4742180"/>
              <a:gd name="connsiteY11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120670 w 4742180"/>
              <a:gd name="connsiteY2" fmla="*/ 623361 h 3877946"/>
              <a:gd name="connsiteX3" fmla="*/ 4742180 w 4742180"/>
              <a:gd name="connsiteY3" fmla="*/ 1699896 h 3877946"/>
              <a:gd name="connsiteX4" fmla="*/ 4742180 w 4742180"/>
              <a:gd name="connsiteY4" fmla="*/ 3877946 h 3877946"/>
              <a:gd name="connsiteX5" fmla="*/ 2238693 w 4742180"/>
              <a:gd name="connsiteY5" fmla="*/ 3877946 h 3877946"/>
              <a:gd name="connsiteX6" fmla="*/ 2238692 w 4742180"/>
              <a:gd name="connsiteY6" fmla="*/ 3877946 h 3877946"/>
              <a:gd name="connsiteX7" fmla="*/ 2238692 w 4742180"/>
              <a:gd name="connsiteY7" fmla="*/ 3877945 h 3877946"/>
              <a:gd name="connsiteX8" fmla="*/ 2238693 w 4742180"/>
              <a:gd name="connsiteY8" fmla="*/ 3877945 h 3877946"/>
              <a:gd name="connsiteX9" fmla="*/ 2238778 w 4742180"/>
              <a:gd name="connsiteY9" fmla="*/ 3877798 h 3877946"/>
              <a:gd name="connsiteX10" fmla="*/ 0 w 4742180"/>
              <a:gd name="connsiteY10" fmla="*/ 0 h 3877946"/>
              <a:gd name="connsiteX0" fmla="*/ 0 w 4742180"/>
              <a:gd name="connsiteY0" fmla="*/ 0 h 3877946"/>
              <a:gd name="connsiteX1" fmla="*/ 3760788 w 4742180"/>
              <a:gd name="connsiteY1" fmla="*/ 0 h 3877946"/>
              <a:gd name="connsiteX2" fmla="*/ 4742180 w 4742180"/>
              <a:gd name="connsiteY2" fmla="*/ 1699896 h 3877946"/>
              <a:gd name="connsiteX3" fmla="*/ 4742180 w 4742180"/>
              <a:gd name="connsiteY3" fmla="*/ 3877946 h 3877946"/>
              <a:gd name="connsiteX4" fmla="*/ 2238693 w 4742180"/>
              <a:gd name="connsiteY4" fmla="*/ 3877946 h 3877946"/>
              <a:gd name="connsiteX5" fmla="*/ 2238692 w 4742180"/>
              <a:gd name="connsiteY5" fmla="*/ 3877946 h 3877946"/>
              <a:gd name="connsiteX6" fmla="*/ 2238692 w 4742180"/>
              <a:gd name="connsiteY6" fmla="*/ 3877945 h 3877946"/>
              <a:gd name="connsiteX7" fmla="*/ 2238693 w 4742180"/>
              <a:gd name="connsiteY7" fmla="*/ 3877945 h 3877946"/>
              <a:gd name="connsiteX8" fmla="*/ 2238778 w 4742180"/>
              <a:gd name="connsiteY8" fmla="*/ 3877798 h 3877946"/>
              <a:gd name="connsiteX9" fmla="*/ 0 w 4742180"/>
              <a:gd name="connsiteY9" fmla="*/ 0 h 3877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42180" h="3877946">
                <a:moveTo>
                  <a:pt x="0" y="0"/>
                </a:moveTo>
                <a:lnTo>
                  <a:pt x="3760788" y="0"/>
                </a:lnTo>
                <a:lnTo>
                  <a:pt x="4742180" y="1699896"/>
                </a:lnTo>
                <a:lnTo>
                  <a:pt x="4742180" y="3877946"/>
                </a:lnTo>
                <a:lnTo>
                  <a:pt x="2238693" y="3877946"/>
                </a:lnTo>
                <a:lnTo>
                  <a:pt x="2238692" y="3877946"/>
                </a:lnTo>
                <a:lnTo>
                  <a:pt x="2238692" y="3877945"/>
                </a:lnTo>
                <a:lnTo>
                  <a:pt x="2238693" y="3877945"/>
                </a:lnTo>
                <a:cubicBezTo>
                  <a:pt x="2238721" y="3877896"/>
                  <a:pt x="2238750" y="3877847"/>
                  <a:pt x="2238778" y="38777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6661150" y="623888"/>
            <a:ext cx="2503488" cy="3255963"/>
          </a:xfrm>
          <a:custGeom>
            <a:avLst/>
            <a:gdLst>
              <a:gd name="T0" fmla="*/ 0 w 1577"/>
              <a:gd name="T1" fmla="*/ 2051 h 2051"/>
              <a:gd name="T2" fmla="*/ 1577 w 1577"/>
              <a:gd name="T3" fmla="*/ 2051 h 2051"/>
              <a:gd name="T4" fmla="*/ 1577 w 1577"/>
              <a:gd name="T5" fmla="*/ 679 h 2051"/>
              <a:gd name="T6" fmla="*/ 1186 w 1577"/>
              <a:gd name="T7" fmla="*/ 0 h 2051"/>
              <a:gd name="T8" fmla="*/ 0 w 1577"/>
              <a:gd name="T9" fmla="*/ 2051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77" h="2051">
                <a:moveTo>
                  <a:pt x="0" y="2051"/>
                </a:moveTo>
                <a:lnTo>
                  <a:pt x="1577" y="2051"/>
                </a:lnTo>
                <a:lnTo>
                  <a:pt x="1577" y="679"/>
                </a:lnTo>
                <a:lnTo>
                  <a:pt x="1186" y="0"/>
                </a:lnTo>
                <a:lnTo>
                  <a:pt x="0" y="20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648584"/>
            <a:ext cx="5667534" cy="1470025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7506" y="4161551"/>
            <a:ext cx="5669280" cy="488157"/>
          </a:xfrm>
        </p:spPr>
        <p:txBody>
          <a:bodyPr anchor="t"/>
          <a:lstStyle>
            <a:lvl1pPr marL="0" indent="0" algn="l">
              <a:buNone/>
              <a:defRPr sz="28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367506" y="4673918"/>
            <a:ext cx="5669280" cy="345122"/>
          </a:xfr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b="0" dirty="0"/>
              <a:t>Date</a:t>
            </a:r>
            <a:endParaRPr lang="en-US" dirty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74651" y="6029325"/>
            <a:ext cx="2054224" cy="403225"/>
            <a:chOff x="374651" y="6029325"/>
            <a:chExt cx="2054224" cy="403225"/>
          </a:xfrm>
        </p:grpSpPr>
        <p:sp>
          <p:nvSpPr>
            <p:cNvPr id="28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7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39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 Placeholder 2"/>
          <p:cNvSpPr>
            <a:spLocks noGrp="1"/>
          </p:cNvSpPr>
          <p:nvPr>
            <p:ph type="body" sz="quarter" idx="24"/>
            <p:custDataLst>
              <p:tags r:id="rId1"/>
            </p:custDataLst>
          </p:nvPr>
        </p:nvSpPr>
        <p:spPr>
          <a:xfrm>
            <a:off x="366712" y="1290279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25"/>
            <p:custDataLst>
              <p:tags r:id="rId2"/>
            </p:custDataLst>
          </p:nvPr>
        </p:nvSpPr>
        <p:spPr>
          <a:xfrm>
            <a:off x="366712" y="1933675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>
          <a:xfrm>
            <a:off x="366712" y="2577071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>
          <a:xfrm>
            <a:off x="366712" y="3220467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>
          <a:xfrm>
            <a:off x="366712" y="3863863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>
          <a:xfrm>
            <a:off x="366712" y="4507258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>
          <a:xfrm>
            <a:off x="366712" y="5150652"/>
            <a:ext cx="7434001" cy="457200"/>
          </a:xfrm>
          <a:prstGeom prst="parallelogram">
            <a:avLst>
              <a:gd name="adj" fmla="val 61734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91440" bIns="91440" rtlCol="0" anchor="ctr"/>
          <a:lstStyle>
            <a:lvl1pPr marL="0" indent="0">
              <a:buFont typeface="Arial" panose="020B0604020202020204" pitchFamily="34" charset="0"/>
              <a:buChar char="​"/>
              <a:def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" hasCustomPrompt="1"/>
          </p:nvPr>
        </p:nvSpPr>
        <p:spPr>
          <a:xfrm>
            <a:off x="366713" y="129027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Ins="137160" rtlCol="0" anchor="ctr"/>
          <a:lstStyle>
            <a:lvl1pPr marL="0" indent="0">
              <a:buFont typeface="Arial" panose="020B0604020202020204" pitchFamily="34" charset="0"/>
              <a:buChar char="​"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dirty="0" smtClean="0">
                <a:solidFill>
                  <a:schemeClr val="lt1"/>
                </a:solidFill>
              </a:defRPr>
            </a:lvl2pPr>
            <a:lvl3pPr>
              <a:defRPr lang="en-US" dirty="0" smtClean="0">
                <a:solidFill>
                  <a:schemeClr val="lt1"/>
                </a:solidFill>
              </a:defRPr>
            </a:lvl3pPr>
            <a:lvl4pPr>
              <a:defRPr lang="en-US" dirty="0" smtClean="0">
                <a:solidFill>
                  <a:schemeClr val="lt1"/>
                </a:solidFill>
              </a:defRPr>
            </a:lvl4pPr>
            <a:lvl5pPr marL="1595437" indent="0">
              <a:buNone/>
              <a:defRPr lang="en-US" dirty="0">
                <a:solidFill>
                  <a:schemeClr val="lt1"/>
                </a:solidFill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</a:p>
        </p:txBody>
      </p:sp>
      <p:sp>
        <p:nvSpPr>
          <p:cNvPr id="63" name="Text Placeholder 60"/>
          <p:cNvSpPr>
            <a:spLocks noGrp="1"/>
          </p:cNvSpPr>
          <p:nvPr>
            <p:ph type="body" sz="quarter" idx="13" hasCustomPrompt="1"/>
          </p:nvPr>
        </p:nvSpPr>
        <p:spPr>
          <a:xfrm>
            <a:off x="366713" y="1934469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4" name="Text Placeholder 60"/>
          <p:cNvSpPr>
            <a:spLocks noGrp="1"/>
          </p:cNvSpPr>
          <p:nvPr>
            <p:ph type="body" sz="quarter" idx="14" hasCustomPrompt="1"/>
          </p:nvPr>
        </p:nvSpPr>
        <p:spPr>
          <a:xfrm>
            <a:off x="366713" y="25778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5" name="Text Placeholder 60"/>
          <p:cNvSpPr>
            <a:spLocks noGrp="1"/>
          </p:cNvSpPr>
          <p:nvPr>
            <p:ph type="body" sz="quarter" idx="15" hasCustomPrompt="1"/>
          </p:nvPr>
        </p:nvSpPr>
        <p:spPr>
          <a:xfrm>
            <a:off x="366713" y="32214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6" name="Text Placeholder 60"/>
          <p:cNvSpPr>
            <a:spLocks noGrp="1"/>
          </p:cNvSpPr>
          <p:nvPr>
            <p:ph type="body" sz="quarter" idx="16" hasCustomPrompt="1"/>
          </p:nvPr>
        </p:nvSpPr>
        <p:spPr>
          <a:xfrm>
            <a:off x="366713" y="38650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7" name="Text Placeholder 60"/>
          <p:cNvSpPr>
            <a:spLocks noGrp="1"/>
          </p:cNvSpPr>
          <p:nvPr>
            <p:ph type="body" sz="quarter" idx="17" hasCustomPrompt="1"/>
          </p:nvPr>
        </p:nvSpPr>
        <p:spPr>
          <a:xfrm>
            <a:off x="366713" y="4508638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  <p:sp>
        <p:nvSpPr>
          <p:cNvPr id="68" name="Text Placeholder 60"/>
          <p:cNvSpPr>
            <a:spLocks noGrp="1"/>
          </p:cNvSpPr>
          <p:nvPr>
            <p:ph type="body" sz="quarter" idx="18" hasCustomPrompt="1"/>
          </p:nvPr>
        </p:nvSpPr>
        <p:spPr>
          <a:xfrm>
            <a:off x="366713" y="5152240"/>
            <a:ext cx="455612" cy="455612"/>
          </a:xfr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137160" bIns="0" rtlCol="0" anchor="ctr">
            <a:noAutofit/>
          </a:bodyPr>
          <a:lstStyle>
            <a:lvl1pPr>
              <a:buFontTx/>
              <a:buNone/>
              <a:def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 algn="ctr">
              <a:spcBef>
                <a:spcPct val="0"/>
              </a:spcBef>
              <a:buChar char="​"/>
            </a:pPr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042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29512"/>
            <a:ext cx="8432800" cy="3474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D03FF3-2B9E-4617-A592-48F56EC63E6E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550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 noChangeAspect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5AFF-DC43-4D65-915F-22B9B4081F3B}" type="slidenum">
              <a:rPr lang="en-US">
                <a:solidFill>
                  <a:srgbClr val="4D4D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D4D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42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632274"/>
            <a:ext cx="8526244" cy="344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524000"/>
            <a:ext cx="8515350" cy="461670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276999"/>
          </a:xfrm>
        </p:spPr>
        <p:txBody>
          <a:bodyPr wrap="square">
            <a:spAutoFit/>
          </a:bodyPr>
          <a:lstStyle>
            <a:lvl1pPr marL="0" indent="0">
              <a:buNone/>
              <a:defRPr b="0"/>
            </a:lvl1pPr>
            <a:lvl2pPr marL="233362" indent="0">
              <a:buNone/>
              <a:defRPr b="0"/>
            </a:lvl2pPr>
            <a:lvl3pPr marL="457200" indent="0">
              <a:buNone/>
              <a:defRPr b="0"/>
            </a:lvl3pPr>
            <a:lvl4pPr marL="690562" indent="0">
              <a:buNone/>
              <a:defRPr b="0"/>
            </a:lvl4pPr>
            <a:lvl5pPr marL="914400" indent="0">
              <a:buNone/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06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193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4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26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rgbClr val="BFF21C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41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" name="Isosceles Triangle 13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8" name="Group 27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29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0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4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378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1" name="Freeform 6"/>
          <p:cNvSpPr>
            <a:spLocks/>
          </p:cNvSpPr>
          <p:nvPr userDrawn="1"/>
        </p:nvSpPr>
        <p:spPr bwMode="auto">
          <a:xfrm>
            <a:off x="5506102" y="0"/>
            <a:ext cx="3648058" cy="5697264"/>
          </a:xfrm>
          <a:custGeom>
            <a:avLst/>
            <a:gdLst/>
            <a:ahLst/>
            <a:cxnLst/>
            <a:rect l="l" t="t" r="r" b="b"/>
            <a:pathLst>
              <a:path w="3648058" h="5697264">
                <a:moveTo>
                  <a:pt x="0" y="0"/>
                </a:moveTo>
                <a:lnTo>
                  <a:pt x="634" y="0"/>
                </a:lnTo>
                <a:lnTo>
                  <a:pt x="3648058" y="0"/>
                </a:lnTo>
                <a:lnTo>
                  <a:pt x="3648058" y="5083853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9" name="Isosceles Triangle 18"/>
          <p:cNvSpPr/>
          <p:nvPr userDrawn="1"/>
        </p:nvSpPr>
        <p:spPr bwMode="auto">
          <a:xfrm>
            <a:off x="7315116" y="3687235"/>
            <a:ext cx="1839045" cy="3170765"/>
          </a:xfrm>
          <a:custGeom>
            <a:avLst/>
            <a:gdLst/>
            <a:ahLst/>
            <a:cxnLst/>
            <a:rect l="l" t="t" r="r" b="b"/>
            <a:pathLst>
              <a:path w="1839045" h="3170765">
                <a:moveTo>
                  <a:pt x="1839045" y="0"/>
                </a:moveTo>
                <a:lnTo>
                  <a:pt x="1839045" y="3170765"/>
                </a:lnTo>
                <a:lnTo>
                  <a:pt x="0" y="3170765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3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34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26" name="Isosceles Triangle 13"/>
          <p:cNvSpPr/>
          <p:nvPr userDrawn="1"/>
        </p:nvSpPr>
        <p:spPr bwMode="auto">
          <a:xfrm>
            <a:off x="7315115" y="4997292"/>
            <a:ext cx="1839045" cy="1860708"/>
          </a:xfrm>
          <a:custGeom>
            <a:avLst/>
            <a:gdLst/>
            <a:ahLst/>
            <a:cxnLst/>
            <a:rect l="l" t="t" r="r" b="b"/>
            <a:pathLst>
              <a:path w="1839045" h="1860708">
                <a:moveTo>
                  <a:pt x="1079211" y="0"/>
                </a:moveTo>
                <a:lnTo>
                  <a:pt x="1839045" y="1310060"/>
                </a:lnTo>
                <a:lnTo>
                  <a:pt x="1839045" y="1860708"/>
                </a:lnTo>
                <a:lnTo>
                  <a:pt x="0" y="1860708"/>
                </a:lnTo>
                <a:close/>
              </a:path>
            </a:pathLst>
          </a:custGeom>
          <a:solidFill>
            <a:srgbClr val="BFF21C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25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94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1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rgbClr val="6ECFF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" name="Isosceles Triangle 15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29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573897"/>
            <a:ext cx="9144000" cy="1143000"/>
          </a:xfrm>
        </p:spPr>
        <p:txBody>
          <a:bodyPr/>
          <a:lstStyle>
            <a:lvl1pPr>
              <a:defRPr spc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112573"/>
            <a:ext cx="9144000" cy="2062456"/>
          </a:xfrm>
        </p:spPr>
        <p:txBody>
          <a:bodyPr/>
          <a:lstStyle>
            <a:lvl1pPr marL="0" indent="0" algn="ctr">
              <a:buNone/>
              <a:defRPr sz="2400" spc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3801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>
        <p:fade/>
      </p:transition>
    </mc:Choice>
    <mc:Fallback xmlns="">
      <p:transition xmlns:p14="http://schemas.microsoft.com/office/powerpoint/2010/main" spd="slow" advClick="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56204-38B3-0844-9F64-732BBD7AA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44EC70-B430-964C-A0F8-10FB6154C8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859282-D10C-924E-BF96-EDA9F518F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A1B2C-C551-6440-B929-8D9B00F98F99}" type="datetimeFigureOut">
              <a:rPr lang="en-US" smtClean="0"/>
              <a:t>6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753E55-C471-0140-9472-B0502B32A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3F074A-55EC-D248-935B-449509577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B3826-3A24-DD42-92B3-BCF80F844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944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/>
          <p:nvPr userDrawn="1"/>
        </p:nvSpPr>
        <p:spPr bwMode="auto">
          <a:xfrm>
            <a:off x="0" y="3942080"/>
            <a:ext cx="8034337" cy="2915920"/>
          </a:xfrm>
          <a:custGeom>
            <a:avLst/>
            <a:gdLst>
              <a:gd name="connsiteX0" fmla="*/ 0 w 9142413"/>
              <a:gd name="connsiteY0" fmla="*/ 0 h 2915920"/>
              <a:gd name="connsiteX1" fmla="*/ 9142413 w 9142413"/>
              <a:gd name="connsiteY1" fmla="*/ 0 h 2915920"/>
              <a:gd name="connsiteX2" fmla="*/ 9142413 w 9142413"/>
              <a:gd name="connsiteY2" fmla="*/ 2915920 h 2915920"/>
              <a:gd name="connsiteX3" fmla="*/ 0 w 9142413"/>
              <a:gd name="connsiteY3" fmla="*/ 2915920 h 2915920"/>
              <a:gd name="connsiteX4" fmla="*/ 0 w 9142413"/>
              <a:gd name="connsiteY4" fmla="*/ 0 h 2915920"/>
              <a:gd name="connsiteX0" fmla="*/ 0 w 9142413"/>
              <a:gd name="connsiteY0" fmla="*/ 0 h 2915920"/>
              <a:gd name="connsiteX1" fmla="*/ 9142413 w 9142413"/>
              <a:gd name="connsiteY1" fmla="*/ 2915920 h 2915920"/>
              <a:gd name="connsiteX2" fmla="*/ 0 w 9142413"/>
              <a:gd name="connsiteY2" fmla="*/ 2915920 h 2915920"/>
              <a:gd name="connsiteX3" fmla="*/ 0 w 9142413"/>
              <a:gd name="connsiteY3" fmla="*/ 0 h 2915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413" h="2915920">
                <a:moveTo>
                  <a:pt x="0" y="0"/>
                </a:moveTo>
                <a:lnTo>
                  <a:pt x="9142413" y="2915920"/>
                </a:lnTo>
                <a:lnTo>
                  <a:pt x="0" y="29159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3"/>
          <p:cNvSpPr/>
          <p:nvPr userDrawn="1"/>
        </p:nvSpPr>
        <p:spPr bwMode="auto">
          <a:xfrm flipH="1">
            <a:off x="6443185" y="4140200"/>
            <a:ext cx="2706767" cy="2717800"/>
          </a:xfrm>
          <a:custGeom>
            <a:avLst/>
            <a:gdLst/>
            <a:ahLst/>
            <a:cxnLst/>
            <a:rect l="l" t="t" r="r" b="b"/>
            <a:pathLst>
              <a:path w="2706767" h="2717800">
                <a:moveTo>
                  <a:pt x="0" y="0"/>
                </a:moveTo>
                <a:lnTo>
                  <a:pt x="0" y="2717800"/>
                </a:lnTo>
                <a:lnTo>
                  <a:pt x="2706767" y="271780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3"/>
          <p:cNvSpPr/>
          <p:nvPr userDrawn="1"/>
        </p:nvSpPr>
        <p:spPr bwMode="auto">
          <a:xfrm>
            <a:off x="6443185" y="6433837"/>
            <a:ext cx="1591152" cy="424163"/>
          </a:xfrm>
          <a:custGeom>
            <a:avLst/>
            <a:gdLst/>
            <a:ahLst/>
            <a:cxnLst/>
            <a:rect l="l" t="t" r="r" b="b"/>
            <a:pathLst>
              <a:path w="1591152" h="424163">
                <a:moveTo>
                  <a:pt x="422441" y="0"/>
                </a:moveTo>
                <a:lnTo>
                  <a:pt x="1591152" y="424163"/>
                </a:lnTo>
                <a:lnTo>
                  <a:pt x="0" y="424163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3"/>
          <p:cNvSpPr/>
          <p:nvPr userDrawn="1"/>
        </p:nvSpPr>
        <p:spPr bwMode="auto">
          <a:xfrm flipH="1">
            <a:off x="7443993" y="5145088"/>
            <a:ext cx="1705959" cy="1712912"/>
          </a:xfrm>
          <a:custGeom>
            <a:avLst/>
            <a:gdLst/>
            <a:ahLst/>
            <a:cxnLst/>
            <a:rect l="l" t="t" r="r" b="b"/>
            <a:pathLst>
              <a:path w="1705959" h="1712912">
                <a:moveTo>
                  <a:pt x="0" y="0"/>
                </a:moveTo>
                <a:lnTo>
                  <a:pt x="0" y="1712912"/>
                </a:lnTo>
                <a:lnTo>
                  <a:pt x="1705959" y="1712912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3"/>
          <p:cNvSpPr/>
          <p:nvPr userDrawn="1"/>
        </p:nvSpPr>
        <p:spPr bwMode="auto">
          <a:xfrm>
            <a:off x="7443993" y="6700629"/>
            <a:ext cx="590344" cy="157371"/>
          </a:xfrm>
          <a:custGeom>
            <a:avLst/>
            <a:gdLst/>
            <a:ahLst/>
            <a:cxnLst/>
            <a:rect l="l" t="t" r="r" b="b"/>
            <a:pathLst>
              <a:path w="590344" h="157371">
                <a:moveTo>
                  <a:pt x="156733" y="0"/>
                </a:moveTo>
                <a:lnTo>
                  <a:pt x="590344" y="157371"/>
                </a:lnTo>
                <a:lnTo>
                  <a:pt x="0" y="157371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2220544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3223749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8086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986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360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7506" y="3449416"/>
            <a:ext cx="5082510" cy="984885"/>
          </a:xfrm>
        </p:spPr>
        <p:txBody>
          <a:bodyPr anchor="b"/>
          <a:lstStyle>
            <a:lvl1pPr>
              <a:defRPr sz="4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0840" y="4452621"/>
            <a:ext cx="5052186" cy="488157"/>
          </a:xfrm>
        </p:spPr>
        <p:txBody>
          <a:bodyPr anchor="t">
            <a:normAutofit/>
          </a:bodyPr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24" y="6433588"/>
            <a:ext cx="1673352" cy="326108"/>
          </a:xfrm>
          <a:prstGeom prst="rect">
            <a:avLst/>
          </a:prstGeom>
        </p:spPr>
      </p:pic>
      <p:sp>
        <p:nvSpPr>
          <p:cNvPr id="11" name="Freeform 6"/>
          <p:cNvSpPr>
            <a:spLocks/>
          </p:cNvSpPr>
          <p:nvPr userDrawn="1"/>
        </p:nvSpPr>
        <p:spPr bwMode="auto">
          <a:xfrm>
            <a:off x="3425840" y="0"/>
            <a:ext cx="5733420" cy="6858000"/>
          </a:xfrm>
          <a:custGeom>
            <a:avLst/>
            <a:gdLst/>
            <a:ahLst/>
            <a:cxnLst/>
            <a:rect l="l" t="t" r="r" b="b"/>
            <a:pathLst>
              <a:path w="5733420" h="6858000">
                <a:moveTo>
                  <a:pt x="0" y="0"/>
                </a:moveTo>
                <a:lnTo>
                  <a:pt x="634" y="0"/>
                </a:lnTo>
                <a:lnTo>
                  <a:pt x="5733420" y="0"/>
                </a:lnTo>
                <a:lnTo>
                  <a:pt x="5729588" y="6858000"/>
                </a:lnTo>
                <a:lnTo>
                  <a:pt x="3963034" y="6858000"/>
                </a:lnTo>
                <a:close/>
              </a:path>
            </a:pathLst>
          </a:custGeom>
          <a:solidFill>
            <a:srgbClr val="6ECFF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" name="Isosceles Triangle 18"/>
          <p:cNvSpPr/>
          <p:nvPr userDrawn="1"/>
        </p:nvSpPr>
        <p:spPr bwMode="auto">
          <a:xfrm>
            <a:off x="7496175" y="3993931"/>
            <a:ext cx="1661161" cy="2864069"/>
          </a:xfrm>
          <a:custGeom>
            <a:avLst/>
            <a:gdLst/>
            <a:ahLst/>
            <a:cxnLst/>
            <a:rect l="l" t="t" r="r" b="b"/>
            <a:pathLst>
              <a:path w="1661161" h="2864069">
                <a:moveTo>
                  <a:pt x="1661161" y="0"/>
                </a:moveTo>
                <a:lnTo>
                  <a:pt x="1661161" y="2864069"/>
                </a:lnTo>
                <a:lnTo>
                  <a:pt x="0" y="2864069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6"/>
          <p:cNvSpPr>
            <a:spLocks/>
          </p:cNvSpPr>
          <p:nvPr userDrawn="1"/>
        </p:nvSpPr>
        <p:spPr bwMode="auto">
          <a:xfrm>
            <a:off x="4879047" y="0"/>
            <a:ext cx="4280213" cy="5697264"/>
          </a:xfrm>
          <a:custGeom>
            <a:avLst/>
            <a:gdLst/>
            <a:ahLst/>
            <a:cxnLst/>
            <a:rect l="l" t="t" r="r" b="b"/>
            <a:pathLst>
              <a:path w="4280213" h="5697264">
                <a:moveTo>
                  <a:pt x="0" y="0"/>
                </a:moveTo>
                <a:lnTo>
                  <a:pt x="634" y="0"/>
                </a:lnTo>
                <a:lnTo>
                  <a:pt x="4280213" y="0"/>
                </a:lnTo>
                <a:lnTo>
                  <a:pt x="4280213" y="3993931"/>
                </a:lnTo>
                <a:lnTo>
                  <a:pt x="3292279" y="5697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" name="Isosceles Triangle 15"/>
          <p:cNvSpPr/>
          <p:nvPr userDrawn="1"/>
        </p:nvSpPr>
        <p:spPr bwMode="auto">
          <a:xfrm>
            <a:off x="7496175" y="5696782"/>
            <a:ext cx="1347013" cy="1161218"/>
          </a:xfrm>
          <a:prstGeom prst="triangle">
            <a:avLst/>
          </a:pr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8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vmlDrawing" Target="../drawings/vmlDrawing13.v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oleObject" Target="../embeddings/oleObject1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ags" Target="../tags/tag61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vmlDrawing" Target="../drawings/vmlDrawing19.v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oleObject" Target="../embeddings/oleObject1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ags" Target="../tags/tag101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vmlDrawing" Target="../drawings/vmlDrawing25.vml"/><Relationship Id="rId5" Type="http://schemas.openxmlformats.org/officeDocument/2006/relationships/slideLayout" Target="../slideLayouts/slideLayout69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5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6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53989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1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Headline – Arial 36pt Bold</a:t>
            </a:r>
            <a:br>
              <a:rPr lang="en-US" noProof="0" dirty="0"/>
            </a:br>
            <a:r>
              <a:rPr lang="en-US" noProof="0" dirty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 – 18pt</a:t>
            </a:r>
          </a:p>
          <a:p>
            <a:pPr lvl="1"/>
            <a:r>
              <a:rPr lang="en-US" noProof="0" dirty="0"/>
              <a:t>Second level – 16pt</a:t>
            </a:r>
          </a:p>
          <a:p>
            <a:pPr lvl="2"/>
            <a:r>
              <a:rPr lang="en-US" noProof="0" dirty="0"/>
              <a:t>Third level – 16pt</a:t>
            </a:r>
          </a:p>
          <a:p>
            <a:pPr lvl="3"/>
            <a:r>
              <a:rPr lang="en-US" noProof="0" dirty="0"/>
              <a:t>Fourth level – 14pt</a:t>
            </a:r>
          </a:p>
          <a:p>
            <a:pPr lvl="4"/>
            <a:r>
              <a:rPr lang="en-US" noProof="0" dirty="0"/>
              <a:t>Fifth level – 14pt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Oslo" pitchFamily="34" charset="0"/>
              </a:rPr>
              <a:t>COMPANY CONFIDENTIAL</a:t>
            </a: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28667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4" name="Slide Number Placeholder 5"/>
          <p:cNvSpPr>
            <a:spLocks noGrp="1" noChangeAspect="1"/>
          </p:cNvSpPr>
          <p:nvPr userDrawn="1">
            <p:ph type="sldNum" sz="quarter" idx="4"/>
          </p:nvPr>
        </p:nvSpPr>
        <p:spPr>
          <a:xfrm>
            <a:off x="8353940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31" name="Rectangle 17"/>
          <p:cNvSpPr/>
          <p:nvPr userDrawn="1"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Rectangle 17"/>
          <p:cNvSpPr/>
          <p:nvPr userDrawn="1"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Rectangle 17"/>
          <p:cNvSpPr/>
          <p:nvPr userDrawn="1"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rgbClr val="BFF21C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17"/>
          <p:cNvSpPr/>
          <p:nvPr userDrawn="1"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17"/>
          <p:cNvSpPr/>
          <p:nvPr userDrawn="1"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758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4194" r:id="rId2"/>
    <p:sldLayoutId id="2147483971" r:id="rId3"/>
    <p:sldLayoutId id="2147483974" r:id="rId4"/>
    <p:sldLayoutId id="2147484193" r:id="rId5"/>
    <p:sldLayoutId id="2147483964" r:id="rId6"/>
    <p:sldLayoutId id="2147483965" r:id="rId7"/>
    <p:sldLayoutId id="2147483966" r:id="rId8"/>
    <p:sldLayoutId id="214748399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3038" indent="-17303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0563" indent="-233363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7763" indent="-23336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72320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9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Headline – Arial 36pt Bold</a:t>
            </a:r>
            <a:br>
              <a:rPr lang="en-US" noProof="0" dirty="0"/>
            </a:br>
            <a:r>
              <a:rPr lang="en-US" noProof="0" dirty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 – 18pt</a:t>
            </a:r>
          </a:p>
          <a:p>
            <a:pPr lvl="1"/>
            <a:r>
              <a:rPr lang="en-US" noProof="0" dirty="0"/>
              <a:t>Second level – 16pt</a:t>
            </a:r>
          </a:p>
          <a:p>
            <a:pPr lvl="2"/>
            <a:r>
              <a:rPr lang="en-US" noProof="0" dirty="0"/>
              <a:t>Third level – 16pt</a:t>
            </a:r>
          </a:p>
          <a:p>
            <a:pPr lvl="3"/>
            <a:r>
              <a:rPr lang="en-US" noProof="0" dirty="0"/>
              <a:t>Fourth level – 14pt</a:t>
            </a:r>
          </a:p>
          <a:p>
            <a:pPr lvl="4"/>
            <a:r>
              <a:rPr lang="en-US" noProof="0" dirty="0"/>
              <a:t>Fifth level – 14pt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28667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 userDrawn="1">
            <p:ph type="sldNum" sz="quarter" idx="4"/>
          </p:nvPr>
        </p:nvSpPr>
        <p:spPr>
          <a:xfrm>
            <a:off x="8353940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 userDrawn="1"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7" name="Rectangle 17"/>
          <p:cNvSpPr/>
          <p:nvPr userDrawn="1"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8" name="Rectangle 17"/>
          <p:cNvSpPr/>
          <p:nvPr userDrawn="1"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9" name="Rectangle 17"/>
          <p:cNvSpPr/>
          <p:nvPr userDrawn="1"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40" name="Rectangle 17"/>
          <p:cNvSpPr/>
          <p:nvPr userDrawn="1"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909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8" r:id="rId2"/>
    <p:sldLayoutId id="2147484199" r:id="rId3"/>
    <p:sldLayoutId id="2147484200" r:id="rId4"/>
    <p:sldLayoutId id="2147484214" r:id="rId5"/>
    <p:sldLayoutId id="2147484215" r:id="rId6"/>
    <p:sldLayoutId id="2147484216" r:id="rId7"/>
    <p:sldLayoutId id="2147484217" r:id="rId8"/>
    <p:sldLayoutId id="214748421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3038" indent="-17303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0563" indent="-233363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7763" indent="-23336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  <p:sp>
        <p:nvSpPr>
          <p:cNvPr id="26" name="Rectangle 17"/>
          <p:cNvSpPr/>
          <p:nvPr userDrawn="1"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7" name="Rectangle 17"/>
          <p:cNvSpPr/>
          <p:nvPr userDrawn="1"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 userDrawn="1"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rgbClr val="EF522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rgbClr val="38454F"/>
              </a:solidFill>
              <a:latin typeface="Arial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27311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34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Headline – Arial 36pt Bold</a:t>
            </a:r>
            <a:br>
              <a:rPr lang="en-US" noProof="0" dirty="0"/>
            </a:br>
            <a:r>
              <a:rPr lang="en-US" noProof="0" dirty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 – 18pt</a:t>
            </a:r>
          </a:p>
          <a:p>
            <a:pPr lvl="1"/>
            <a:r>
              <a:rPr lang="en-US" noProof="0" dirty="0"/>
              <a:t>Second level – 16pt</a:t>
            </a:r>
          </a:p>
          <a:p>
            <a:pPr lvl="2"/>
            <a:r>
              <a:rPr lang="en-US" noProof="0" dirty="0"/>
              <a:t>Third level – 16pt</a:t>
            </a:r>
          </a:p>
          <a:p>
            <a:pPr lvl="3"/>
            <a:r>
              <a:rPr lang="en-US" noProof="0" dirty="0"/>
              <a:t>Fourth level – 14pt</a:t>
            </a:r>
          </a:p>
          <a:p>
            <a:pPr lvl="4"/>
            <a:r>
              <a:rPr lang="en-US" noProof="0" dirty="0"/>
              <a:t>Fifth level – 14pt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54344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 userDrawn="1">
            <p:ph type="sldNum" sz="quarter" idx="4"/>
          </p:nvPr>
        </p:nvSpPr>
        <p:spPr>
          <a:xfrm>
            <a:off x="8379617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8" name="Rectangle 17"/>
          <p:cNvSpPr/>
          <p:nvPr userDrawn="1"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298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1" r:id="rId1"/>
    <p:sldLayoutId id="2147484222" r:id="rId2"/>
    <p:sldLayoutId id="2147484223" r:id="rId3"/>
    <p:sldLayoutId id="2147484224" r:id="rId4"/>
    <p:sldLayoutId id="2147484225" r:id="rId5"/>
    <p:sldLayoutId id="2147484226" r:id="rId6"/>
    <p:sldLayoutId id="2147484227" r:id="rId7"/>
    <p:sldLayoutId id="2147484228" r:id="rId8"/>
    <p:sldLayoutId id="2147484229" r:id="rId9"/>
    <p:sldLayoutId id="2147484230" r:id="rId10"/>
    <p:sldLayoutId id="2147484231" r:id="rId11"/>
    <p:sldLayoutId id="2147484232" r:id="rId12"/>
    <p:sldLayoutId id="2147484233" r:id="rId13"/>
    <p:sldLayoutId id="2147484234" r:id="rId14"/>
    <p:sldLayoutId id="2147484235" r:id="rId15"/>
    <p:sldLayoutId id="2147484236" r:id="rId16"/>
    <p:sldLayoutId id="2147484237" r:id="rId17"/>
    <p:sldLayoutId id="2147484238" r:id="rId18"/>
    <p:sldLayoutId id="2147484239" r:id="rId19"/>
    <p:sldLayoutId id="2147484240" r:id="rId20"/>
    <p:sldLayoutId id="2147484241" r:id="rId21"/>
    <p:sldLayoutId id="2147484242" r:id="rId22"/>
    <p:sldLayoutId id="214748424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3038" indent="-17303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0563" indent="-233363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7763" indent="-23336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17"/>
          <p:cNvSpPr/>
          <p:nvPr userDrawn="1"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7" name="Rectangle 17"/>
          <p:cNvSpPr/>
          <p:nvPr userDrawn="1"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32" name="Rectangle 17"/>
          <p:cNvSpPr/>
          <p:nvPr userDrawn="1"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57978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7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Headline – Arial 36pt Bold</a:t>
            </a:r>
            <a:br>
              <a:rPr lang="en-US" noProof="0" dirty="0"/>
            </a:br>
            <a:r>
              <a:rPr lang="en-US" noProof="0" dirty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 – 18pt</a:t>
            </a:r>
          </a:p>
          <a:p>
            <a:pPr lvl="1"/>
            <a:r>
              <a:rPr lang="en-US" noProof="0" dirty="0"/>
              <a:t>Second level – 16pt</a:t>
            </a:r>
          </a:p>
          <a:p>
            <a:pPr lvl="2"/>
            <a:r>
              <a:rPr lang="en-US" noProof="0" dirty="0"/>
              <a:t>Third level – 16pt</a:t>
            </a:r>
          </a:p>
          <a:p>
            <a:pPr lvl="3"/>
            <a:r>
              <a:rPr lang="en-US" noProof="0" dirty="0"/>
              <a:t>Fourth level – 14pt</a:t>
            </a:r>
          </a:p>
          <a:p>
            <a:pPr lvl="4"/>
            <a:r>
              <a:rPr lang="en-US" noProof="0" dirty="0"/>
              <a:t>Fifth level – 14pt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38454F">
                    <a:lumMod val="60000"/>
                    <a:lumOff val="40000"/>
                  </a:srgbClr>
                </a:solidFill>
                <a:latin typeface="Oslo" pitchFamily="34" charset="0"/>
              </a:rPr>
              <a:t>COMPANY CONFIDENTIAL</a:t>
            </a: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54344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24" name="Slide Number Placeholder 5"/>
          <p:cNvSpPr>
            <a:spLocks noGrp="1" noChangeAspect="1"/>
          </p:cNvSpPr>
          <p:nvPr userDrawn="1">
            <p:ph type="sldNum" sz="quarter" idx="4"/>
          </p:nvPr>
        </p:nvSpPr>
        <p:spPr>
          <a:xfrm>
            <a:off x="8379617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>
                <a:solidFill>
                  <a:srgbClr val="38454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8454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sp>
        <p:nvSpPr>
          <p:cNvPr id="28" name="Rectangle 17"/>
          <p:cNvSpPr/>
          <p:nvPr userDrawn="1"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38454F"/>
              </a:solidFill>
            </a:endParaRPr>
          </a:p>
        </p:txBody>
      </p:sp>
      <p:grpSp>
        <p:nvGrpSpPr>
          <p:cNvPr id="33" name="Group 32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34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5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4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5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6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7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8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49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  <p:sp>
          <p:nvSpPr>
            <p:cNvPr id="50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3845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0774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  <p:sldLayoutId id="2147484257" r:id="rId12"/>
    <p:sldLayoutId id="2147484258" r:id="rId13"/>
    <p:sldLayoutId id="2147484259" r:id="rId14"/>
    <p:sldLayoutId id="2147484260" r:id="rId15"/>
    <p:sldLayoutId id="2147484261" r:id="rId16"/>
    <p:sldLayoutId id="2147484262" r:id="rId17"/>
    <p:sldLayoutId id="2147484263" r:id="rId18"/>
    <p:sldLayoutId id="2147484264" r:id="rId19"/>
    <p:sldLayoutId id="2147484265" r:id="rId20"/>
    <p:sldLayoutId id="2147484266" r:id="rId21"/>
    <p:sldLayoutId id="2147484267" r:id="rId22"/>
    <p:sldLayoutId id="2147484268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1450" indent="-171450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61963" indent="-234950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88" indent="-225425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1413" indent="-22701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374651" y="6431112"/>
            <a:ext cx="1673352" cy="328463"/>
            <a:chOff x="374651" y="6029325"/>
            <a:chExt cx="2054224" cy="403225"/>
          </a:xfrm>
        </p:grpSpPr>
        <p:sp>
          <p:nvSpPr>
            <p:cNvPr id="52" name="Freeform 21"/>
            <p:cNvSpPr>
              <a:spLocks/>
            </p:cNvSpPr>
            <p:nvPr userDrawn="1"/>
          </p:nvSpPr>
          <p:spPr bwMode="auto">
            <a:xfrm>
              <a:off x="374651" y="6030912"/>
              <a:ext cx="333374" cy="223838"/>
            </a:xfrm>
            <a:custGeom>
              <a:avLst/>
              <a:gdLst/>
              <a:ahLst/>
              <a:cxnLst/>
              <a:rect l="l" t="t" r="r" b="b"/>
              <a:pathLst>
                <a:path w="333374" h="223838">
                  <a:moveTo>
                    <a:pt x="0" y="0"/>
                  </a:moveTo>
                  <a:lnTo>
                    <a:pt x="203200" y="0"/>
                  </a:lnTo>
                  <a:lnTo>
                    <a:pt x="231775" y="47625"/>
                  </a:lnTo>
                  <a:lnTo>
                    <a:pt x="231775" y="47626"/>
                  </a:lnTo>
                  <a:lnTo>
                    <a:pt x="333374" y="223838"/>
                  </a:lnTo>
                  <a:lnTo>
                    <a:pt x="130175" y="223838"/>
                  </a:lnTo>
                  <a:lnTo>
                    <a:pt x="130174" y="223838"/>
                  </a:lnTo>
                  <a:lnTo>
                    <a:pt x="130175" y="22383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53" name="AutoShape 6"/>
            <p:cNvSpPr>
              <a:spLocks noChangeAspect="1" noChangeArrowheads="1" noTextEdit="1"/>
            </p:cNvSpPr>
            <p:nvPr userDrawn="1"/>
          </p:nvSpPr>
          <p:spPr bwMode="auto">
            <a:xfrm>
              <a:off x="376238" y="6029325"/>
              <a:ext cx="2052637" cy="403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869950" y="6156325"/>
              <a:ext cx="169862" cy="180975"/>
            </a:xfrm>
            <a:custGeom>
              <a:avLst/>
              <a:gdLst>
                <a:gd name="T0" fmla="*/ 87 w 107"/>
                <a:gd name="T1" fmla="*/ 0 h 114"/>
                <a:gd name="T2" fmla="*/ 53 w 107"/>
                <a:gd name="T3" fmla="*/ 70 h 114"/>
                <a:gd name="T4" fmla="*/ 20 w 107"/>
                <a:gd name="T5" fmla="*/ 0 h 114"/>
                <a:gd name="T6" fmla="*/ 0 w 107"/>
                <a:gd name="T7" fmla="*/ 0 h 114"/>
                <a:gd name="T8" fmla="*/ 53 w 107"/>
                <a:gd name="T9" fmla="*/ 114 h 114"/>
                <a:gd name="T10" fmla="*/ 107 w 107"/>
                <a:gd name="T11" fmla="*/ 0 h 114"/>
                <a:gd name="T12" fmla="*/ 87 w 107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14">
                  <a:moveTo>
                    <a:pt x="87" y="0"/>
                  </a:moveTo>
                  <a:lnTo>
                    <a:pt x="53" y="7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53" y="114"/>
                  </a:lnTo>
                  <a:lnTo>
                    <a:pt x="107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31888" y="6151563"/>
              <a:ext cx="138112" cy="185738"/>
            </a:xfrm>
            <a:custGeom>
              <a:avLst/>
              <a:gdLst>
                <a:gd name="T0" fmla="*/ 20 w 118"/>
                <a:gd name="T1" fmla="*/ 114 h 158"/>
                <a:gd name="T2" fmla="*/ 58 w 118"/>
                <a:gd name="T3" fmla="*/ 135 h 158"/>
                <a:gd name="T4" fmla="*/ 91 w 118"/>
                <a:gd name="T5" fmla="*/ 112 h 158"/>
                <a:gd name="T6" fmla="*/ 59 w 118"/>
                <a:gd name="T7" fmla="*/ 88 h 158"/>
                <a:gd name="T8" fmla="*/ 7 w 118"/>
                <a:gd name="T9" fmla="*/ 44 h 158"/>
                <a:gd name="T10" fmla="*/ 63 w 118"/>
                <a:gd name="T11" fmla="*/ 0 h 158"/>
                <a:gd name="T12" fmla="*/ 113 w 118"/>
                <a:gd name="T13" fmla="*/ 28 h 158"/>
                <a:gd name="T14" fmla="*/ 93 w 118"/>
                <a:gd name="T15" fmla="*/ 41 h 158"/>
                <a:gd name="T16" fmla="*/ 61 w 118"/>
                <a:gd name="T17" fmla="*/ 23 h 158"/>
                <a:gd name="T18" fmla="*/ 32 w 118"/>
                <a:gd name="T19" fmla="*/ 44 h 158"/>
                <a:gd name="T20" fmla="*/ 69 w 118"/>
                <a:gd name="T21" fmla="*/ 66 h 158"/>
                <a:gd name="T22" fmla="*/ 118 w 118"/>
                <a:gd name="T23" fmla="*/ 111 h 158"/>
                <a:gd name="T24" fmla="*/ 58 w 118"/>
                <a:gd name="T25" fmla="*/ 158 h 158"/>
                <a:gd name="T26" fmla="*/ 0 w 118"/>
                <a:gd name="T27" fmla="*/ 130 h 158"/>
                <a:gd name="T28" fmla="*/ 20 w 118"/>
                <a:gd name="T29" fmla="*/ 11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158">
                  <a:moveTo>
                    <a:pt x="20" y="114"/>
                  </a:moveTo>
                  <a:cubicBezTo>
                    <a:pt x="30" y="127"/>
                    <a:pt x="41" y="135"/>
                    <a:pt x="58" y="135"/>
                  </a:cubicBezTo>
                  <a:cubicBezTo>
                    <a:pt x="74" y="135"/>
                    <a:pt x="91" y="128"/>
                    <a:pt x="91" y="112"/>
                  </a:cubicBezTo>
                  <a:cubicBezTo>
                    <a:pt x="91" y="96"/>
                    <a:pt x="75" y="91"/>
                    <a:pt x="59" y="88"/>
                  </a:cubicBezTo>
                  <a:cubicBezTo>
                    <a:pt x="31" y="82"/>
                    <a:pt x="7" y="75"/>
                    <a:pt x="7" y="44"/>
                  </a:cubicBezTo>
                  <a:cubicBezTo>
                    <a:pt x="7" y="15"/>
                    <a:pt x="35" y="0"/>
                    <a:pt x="63" y="0"/>
                  </a:cubicBezTo>
                  <a:cubicBezTo>
                    <a:pt x="84" y="0"/>
                    <a:pt x="103" y="8"/>
                    <a:pt x="113" y="28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6" y="31"/>
                    <a:pt x="76" y="23"/>
                    <a:pt x="61" y="23"/>
                  </a:cubicBezTo>
                  <a:cubicBezTo>
                    <a:pt x="47" y="23"/>
                    <a:pt x="32" y="30"/>
                    <a:pt x="32" y="44"/>
                  </a:cubicBezTo>
                  <a:cubicBezTo>
                    <a:pt x="32" y="57"/>
                    <a:pt x="49" y="62"/>
                    <a:pt x="69" y="66"/>
                  </a:cubicBezTo>
                  <a:cubicBezTo>
                    <a:pt x="96" y="71"/>
                    <a:pt x="118" y="81"/>
                    <a:pt x="118" y="111"/>
                  </a:cubicBezTo>
                  <a:cubicBezTo>
                    <a:pt x="118" y="144"/>
                    <a:pt x="88" y="158"/>
                    <a:pt x="58" y="158"/>
                  </a:cubicBezTo>
                  <a:cubicBezTo>
                    <a:pt x="33" y="158"/>
                    <a:pt x="15" y="151"/>
                    <a:pt x="0" y="130"/>
                  </a:cubicBezTo>
                  <a:lnTo>
                    <a:pt x="20" y="1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1285875" y="6107113"/>
              <a:ext cx="119062" cy="230188"/>
            </a:xfrm>
            <a:custGeom>
              <a:avLst/>
              <a:gdLst>
                <a:gd name="T0" fmla="*/ 101 w 102"/>
                <a:gd name="T1" fmla="*/ 63 h 196"/>
                <a:gd name="T2" fmla="*/ 57 w 102"/>
                <a:gd name="T3" fmla="*/ 63 h 196"/>
                <a:gd name="T4" fmla="*/ 57 w 102"/>
                <a:gd name="T5" fmla="*/ 138 h 196"/>
                <a:gd name="T6" fmla="*/ 79 w 102"/>
                <a:gd name="T7" fmla="*/ 173 h 196"/>
                <a:gd name="T8" fmla="*/ 101 w 102"/>
                <a:gd name="T9" fmla="*/ 167 h 196"/>
                <a:gd name="T10" fmla="*/ 102 w 102"/>
                <a:gd name="T11" fmla="*/ 190 h 196"/>
                <a:gd name="T12" fmla="*/ 73 w 102"/>
                <a:gd name="T13" fmla="*/ 196 h 196"/>
                <a:gd name="T14" fmla="*/ 32 w 102"/>
                <a:gd name="T15" fmla="*/ 145 h 196"/>
                <a:gd name="T16" fmla="*/ 32 w 102"/>
                <a:gd name="T17" fmla="*/ 63 h 196"/>
                <a:gd name="T18" fmla="*/ 0 w 102"/>
                <a:gd name="T19" fmla="*/ 63 h 196"/>
                <a:gd name="T20" fmla="*/ 0 w 102"/>
                <a:gd name="T21" fmla="*/ 42 h 196"/>
                <a:gd name="T22" fmla="*/ 32 w 102"/>
                <a:gd name="T23" fmla="*/ 42 h 196"/>
                <a:gd name="T24" fmla="*/ 32 w 102"/>
                <a:gd name="T25" fmla="*/ 0 h 196"/>
                <a:gd name="T26" fmla="*/ 57 w 102"/>
                <a:gd name="T27" fmla="*/ 0 h 196"/>
                <a:gd name="T28" fmla="*/ 57 w 102"/>
                <a:gd name="T29" fmla="*/ 42 h 196"/>
                <a:gd name="T30" fmla="*/ 101 w 102"/>
                <a:gd name="T31" fmla="*/ 42 h 196"/>
                <a:gd name="T32" fmla="*/ 101 w 102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79" y="173"/>
                  </a:cubicBezTo>
                  <a:cubicBezTo>
                    <a:pt x="87" y="173"/>
                    <a:pt x="95" y="171"/>
                    <a:pt x="101" y="167"/>
                  </a:cubicBezTo>
                  <a:cubicBezTo>
                    <a:pt x="102" y="190"/>
                    <a:pt x="102" y="190"/>
                    <a:pt x="102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2243138" y="6107113"/>
              <a:ext cx="120650" cy="230188"/>
            </a:xfrm>
            <a:custGeom>
              <a:avLst/>
              <a:gdLst>
                <a:gd name="T0" fmla="*/ 101 w 103"/>
                <a:gd name="T1" fmla="*/ 63 h 196"/>
                <a:gd name="T2" fmla="*/ 57 w 103"/>
                <a:gd name="T3" fmla="*/ 63 h 196"/>
                <a:gd name="T4" fmla="*/ 57 w 103"/>
                <a:gd name="T5" fmla="*/ 138 h 196"/>
                <a:gd name="T6" fmla="*/ 80 w 103"/>
                <a:gd name="T7" fmla="*/ 173 h 196"/>
                <a:gd name="T8" fmla="*/ 102 w 103"/>
                <a:gd name="T9" fmla="*/ 167 h 196"/>
                <a:gd name="T10" fmla="*/ 103 w 103"/>
                <a:gd name="T11" fmla="*/ 190 h 196"/>
                <a:gd name="T12" fmla="*/ 73 w 103"/>
                <a:gd name="T13" fmla="*/ 196 h 196"/>
                <a:gd name="T14" fmla="*/ 32 w 103"/>
                <a:gd name="T15" fmla="*/ 145 h 196"/>
                <a:gd name="T16" fmla="*/ 32 w 103"/>
                <a:gd name="T17" fmla="*/ 63 h 196"/>
                <a:gd name="T18" fmla="*/ 0 w 103"/>
                <a:gd name="T19" fmla="*/ 63 h 196"/>
                <a:gd name="T20" fmla="*/ 0 w 103"/>
                <a:gd name="T21" fmla="*/ 42 h 196"/>
                <a:gd name="T22" fmla="*/ 32 w 103"/>
                <a:gd name="T23" fmla="*/ 42 h 196"/>
                <a:gd name="T24" fmla="*/ 32 w 103"/>
                <a:gd name="T25" fmla="*/ 0 h 196"/>
                <a:gd name="T26" fmla="*/ 57 w 103"/>
                <a:gd name="T27" fmla="*/ 0 h 196"/>
                <a:gd name="T28" fmla="*/ 57 w 103"/>
                <a:gd name="T29" fmla="*/ 42 h 196"/>
                <a:gd name="T30" fmla="*/ 101 w 103"/>
                <a:gd name="T31" fmla="*/ 42 h 196"/>
                <a:gd name="T32" fmla="*/ 101 w 103"/>
                <a:gd name="T33" fmla="*/ 6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" h="196">
                  <a:moveTo>
                    <a:pt x="101" y="63"/>
                  </a:moveTo>
                  <a:cubicBezTo>
                    <a:pt x="57" y="63"/>
                    <a:pt x="57" y="63"/>
                    <a:pt x="57" y="63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57"/>
                    <a:pt x="57" y="173"/>
                    <a:pt x="80" y="173"/>
                  </a:cubicBezTo>
                  <a:cubicBezTo>
                    <a:pt x="87" y="173"/>
                    <a:pt x="95" y="171"/>
                    <a:pt x="102" y="167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94" y="194"/>
                    <a:pt x="83" y="196"/>
                    <a:pt x="73" y="196"/>
                  </a:cubicBezTo>
                  <a:cubicBezTo>
                    <a:pt x="38" y="196"/>
                    <a:pt x="32" y="176"/>
                    <a:pt x="32" y="145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101" y="42"/>
                    <a:pt x="101" y="42"/>
                    <a:pt x="101" y="42"/>
                  </a:cubicBezTo>
                  <a:lnTo>
                    <a:pt x="101" y="63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649413" y="6151563"/>
              <a:ext cx="184150" cy="247650"/>
            </a:xfrm>
            <a:custGeom>
              <a:avLst/>
              <a:gdLst>
                <a:gd name="T0" fmla="*/ 0 w 158"/>
                <a:gd name="T1" fmla="*/ 4 h 211"/>
                <a:gd name="T2" fmla="*/ 25 w 158"/>
                <a:gd name="T3" fmla="*/ 4 h 211"/>
                <a:gd name="T4" fmla="*/ 25 w 158"/>
                <a:gd name="T5" fmla="*/ 26 h 211"/>
                <a:gd name="T6" fmla="*/ 26 w 158"/>
                <a:gd name="T7" fmla="*/ 26 h 211"/>
                <a:gd name="T8" fmla="*/ 79 w 158"/>
                <a:gd name="T9" fmla="*/ 0 h 211"/>
                <a:gd name="T10" fmla="*/ 158 w 158"/>
                <a:gd name="T11" fmla="*/ 79 h 211"/>
                <a:gd name="T12" fmla="*/ 83 w 158"/>
                <a:gd name="T13" fmla="*/ 158 h 211"/>
                <a:gd name="T14" fmla="*/ 26 w 158"/>
                <a:gd name="T15" fmla="*/ 127 h 211"/>
                <a:gd name="T16" fmla="*/ 25 w 158"/>
                <a:gd name="T17" fmla="*/ 127 h 211"/>
                <a:gd name="T18" fmla="*/ 25 w 158"/>
                <a:gd name="T19" fmla="*/ 211 h 211"/>
                <a:gd name="T20" fmla="*/ 0 w 158"/>
                <a:gd name="T21" fmla="*/ 211 h 211"/>
                <a:gd name="T22" fmla="*/ 0 w 158"/>
                <a:gd name="T23" fmla="*/ 4 h 211"/>
                <a:gd name="T24" fmla="*/ 78 w 158"/>
                <a:gd name="T25" fmla="*/ 135 h 211"/>
                <a:gd name="T26" fmla="*/ 131 w 158"/>
                <a:gd name="T27" fmla="*/ 79 h 211"/>
                <a:gd name="T28" fmla="*/ 78 w 158"/>
                <a:gd name="T29" fmla="*/ 23 h 211"/>
                <a:gd name="T30" fmla="*/ 25 w 158"/>
                <a:gd name="T31" fmla="*/ 79 h 211"/>
                <a:gd name="T32" fmla="*/ 78 w 158"/>
                <a:gd name="T33" fmla="*/ 1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211">
                  <a:moveTo>
                    <a:pt x="0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39" y="10"/>
                    <a:pt x="58" y="0"/>
                    <a:pt x="79" y="0"/>
                  </a:cubicBezTo>
                  <a:cubicBezTo>
                    <a:pt x="126" y="0"/>
                    <a:pt x="158" y="34"/>
                    <a:pt x="158" y="79"/>
                  </a:cubicBezTo>
                  <a:cubicBezTo>
                    <a:pt x="158" y="124"/>
                    <a:pt x="125" y="158"/>
                    <a:pt x="83" y="158"/>
                  </a:cubicBezTo>
                  <a:cubicBezTo>
                    <a:pt x="56" y="158"/>
                    <a:pt x="35" y="144"/>
                    <a:pt x="26" y="127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0" y="211"/>
                    <a:pt x="0" y="211"/>
                    <a:pt x="0" y="211"/>
                  </a:cubicBezTo>
                  <a:lnTo>
                    <a:pt x="0" y="4"/>
                  </a:lnTo>
                  <a:close/>
                  <a:moveTo>
                    <a:pt x="78" y="135"/>
                  </a:moveTo>
                  <a:cubicBezTo>
                    <a:pt x="110" y="135"/>
                    <a:pt x="131" y="110"/>
                    <a:pt x="131" y="79"/>
                  </a:cubicBezTo>
                  <a:cubicBezTo>
                    <a:pt x="131" y="48"/>
                    <a:pt x="110" y="23"/>
                    <a:pt x="78" y="23"/>
                  </a:cubicBezTo>
                  <a:cubicBezTo>
                    <a:pt x="46" y="23"/>
                    <a:pt x="25" y="48"/>
                    <a:pt x="25" y="79"/>
                  </a:cubicBezTo>
                  <a:cubicBezTo>
                    <a:pt x="25" y="110"/>
                    <a:pt x="46" y="135"/>
                    <a:pt x="78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 noEditPoints="1"/>
            </p:cNvSpPr>
            <p:nvPr userDrawn="1"/>
          </p:nvSpPr>
          <p:spPr bwMode="auto">
            <a:xfrm>
              <a:off x="1423988" y="6151563"/>
              <a:ext cx="182562" cy="185738"/>
            </a:xfrm>
            <a:custGeom>
              <a:avLst/>
              <a:gdLst>
                <a:gd name="T0" fmla="*/ 158 w 158"/>
                <a:gd name="T1" fmla="*/ 4 h 158"/>
                <a:gd name="T2" fmla="*/ 133 w 158"/>
                <a:gd name="T3" fmla="*/ 4 h 158"/>
                <a:gd name="T4" fmla="*/ 133 w 158"/>
                <a:gd name="T5" fmla="*/ 26 h 158"/>
                <a:gd name="T6" fmla="*/ 132 w 158"/>
                <a:gd name="T7" fmla="*/ 26 h 158"/>
                <a:gd name="T8" fmla="*/ 79 w 158"/>
                <a:gd name="T9" fmla="*/ 0 h 158"/>
                <a:gd name="T10" fmla="*/ 0 w 158"/>
                <a:gd name="T11" fmla="*/ 79 h 158"/>
                <a:gd name="T12" fmla="*/ 75 w 158"/>
                <a:gd name="T13" fmla="*/ 158 h 158"/>
                <a:gd name="T14" fmla="*/ 132 w 158"/>
                <a:gd name="T15" fmla="*/ 127 h 158"/>
                <a:gd name="T16" fmla="*/ 133 w 158"/>
                <a:gd name="T17" fmla="*/ 127 h 158"/>
                <a:gd name="T18" fmla="*/ 133 w 158"/>
                <a:gd name="T19" fmla="*/ 154 h 158"/>
                <a:gd name="T20" fmla="*/ 158 w 158"/>
                <a:gd name="T21" fmla="*/ 154 h 158"/>
                <a:gd name="T22" fmla="*/ 158 w 158"/>
                <a:gd name="T23" fmla="*/ 4 h 158"/>
                <a:gd name="T24" fmla="*/ 80 w 158"/>
                <a:gd name="T25" fmla="*/ 135 h 158"/>
                <a:gd name="T26" fmla="*/ 27 w 158"/>
                <a:gd name="T27" fmla="*/ 79 h 158"/>
                <a:gd name="T28" fmla="*/ 80 w 158"/>
                <a:gd name="T29" fmla="*/ 23 h 158"/>
                <a:gd name="T30" fmla="*/ 133 w 158"/>
                <a:gd name="T31" fmla="*/ 79 h 158"/>
                <a:gd name="T32" fmla="*/ 80 w 158"/>
                <a:gd name="T33" fmla="*/ 1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8">
                  <a:moveTo>
                    <a:pt x="158" y="4"/>
                  </a:moveTo>
                  <a:cubicBezTo>
                    <a:pt x="133" y="4"/>
                    <a:pt x="133" y="4"/>
                    <a:pt x="133" y="4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19" y="10"/>
                    <a:pt x="100" y="0"/>
                    <a:pt x="79" y="0"/>
                  </a:cubicBezTo>
                  <a:cubicBezTo>
                    <a:pt x="32" y="0"/>
                    <a:pt x="0" y="34"/>
                    <a:pt x="0" y="79"/>
                  </a:cubicBezTo>
                  <a:cubicBezTo>
                    <a:pt x="0" y="124"/>
                    <a:pt x="33" y="158"/>
                    <a:pt x="75" y="158"/>
                  </a:cubicBezTo>
                  <a:cubicBezTo>
                    <a:pt x="102" y="158"/>
                    <a:pt x="123" y="144"/>
                    <a:pt x="132" y="127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33" y="154"/>
                    <a:pt x="133" y="154"/>
                    <a:pt x="133" y="154"/>
                  </a:cubicBezTo>
                  <a:cubicBezTo>
                    <a:pt x="158" y="154"/>
                    <a:pt x="158" y="154"/>
                    <a:pt x="158" y="154"/>
                  </a:cubicBezTo>
                  <a:lnTo>
                    <a:pt x="158" y="4"/>
                  </a:lnTo>
                  <a:close/>
                  <a:moveTo>
                    <a:pt x="80" y="135"/>
                  </a:moveTo>
                  <a:cubicBezTo>
                    <a:pt x="48" y="135"/>
                    <a:pt x="27" y="110"/>
                    <a:pt x="27" y="79"/>
                  </a:cubicBezTo>
                  <a:cubicBezTo>
                    <a:pt x="27" y="48"/>
                    <a:pt x="48" y="23"/>
                    <a:pt x="80" y="23"/>
                  </a:cubicBezTo>
                  <a:cubicBezTo>
                    <a:pt x="112" y="23"/>
                    <a:pt x="133" y="48"/>
                    <a:pt x="133" y="79"/>
                  </a:cubicBezTo>
                  <a:cubicBezTo>
                    <a:pt x="133" y="110"/>
                    <a:pt x="112" y="135"/>
                    <a:pt x="80" y="135"/>
                  </a:cubicBezTo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1860550" y="6151563"/>
              <a:ext cx="100012" cy="180975"/>
            </a:xfrm>
            <a:custGeom>
              <a:avLst/>
              <a:gdLst>
                <a:gd name="T0" fmla="*/ 1 w 85"/>
                <a:gd name="T1" fmla="*/ 40 h 154"/>
                <a:gd name="T2" fmla="*/ 0 w 85"/>
                <a:gd name="T3" fmla="*/ 4 h 154"/>
                <a:gd name="T4" fmla="*/ 24 w 85"/>
                <a:gd name="T5" fmla="*/ 4 h 154"/>
                <a:gd name="T6" fmla="*/ 24 w 85"/>
                <a:gd name="T7" fmla="*/ 29 h 154"/>
                <a:gd name="T8" fmla="*/ 25 w 85"/>
                <a:gd name="T9" fmla="*/ 29 h 154"/>
                <a:gd name="T10" fmla="*/ 75 w 85"/>
                <a:gd name="T11" fmla="*/ 0 h 154"/>
                <a:gd name="T12" fmla="*/ 85 w 85"/>
                <a:gd name="T13" fmla="*/ 2 h 154"/>
                <a:gd name="T14" fmla="*/ 83 w 85"/>
                <a:gd name="T15" fmla="*/ 27 h 154"/>
                <a:gd name="T16" fmla="*/ 70 w 85"/>
                <a:gd name="T17" fmla="*/ 25 h 154"/>
                <a:gd name="T18" fmla="*/ 26 w 85"/>
                <a:gd name="T19" fmla="*/ 81 h 154"/>
                <a:gd name="T20" fmla="*/ 26 w 85"/>
                <a:gd name="T21" fmla="*/ 154 h 154"/>
                <a:gd name="T22" fmla="*/ 1 w 85"/>
                <a:gd name="T23" fmla="*/ 154 h 154"/>
                <a:gd name="T24" fmla="*/ 1 w 85"/>
                <a:gd name="T25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78" y="0"/>
                    <a:pt x="82" y="1"/>
                    <a:pt x="85" y="2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79" y="26"/>
                    <a:pt x="74" y="25"/>
                    <a:pt x="70" y="25"/>
                  </a:cubicBezTo>
                  <a:cubicBezTo>
                    <a:pt x="40" y="25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2068513" y="6151563"/>
              <a:ext cx="153987" cy="180975"/>
            </a:xfrm>
            <a:custGeom>
              <a:avLst/>
              <a:gdLst>
                <a:gd name="T0" fmla="*/ 1 w 132"/>
                <a:gd name="T1" fmla="*/ 40 h 154"/>
                <a:gd name="T2" fmla="*/ 0 w 132"/>
                <a:gd name="T3" fmla="*/ 4 h 154"/>
                <a:gd name="T4" fmla="*/ 24 w 132"/>
                <a:gd name="T5" fmla="*/ 4 h 154"/>
                <a:gd name="T6" fmla="*/ 24 w 132"/>
                <a:gd name="T7" fmla="*/ 29 h 154"/>
                <a:gd name="T8" fmla="*/ 25 w 132"/>
                <a:gd name="T9" fmla="*/ 29 h 154"/>
                <a:gd name="T10" fmla="*/ 75 w 132"/>
                <a:gd name="T11" fmla="*/ 0 h 154"/>
                <a:gd name="T12" fmla="*/ 132 w 132"/>
                <a:gd name="T13" fmla="*/ 61 h 154"/>
                <a:gd name="T14" fmla="*/ 132 w 132"/>
                <a:gd name="T15" fmla="*/ 154 h 154"/>
                <a:gd name="T16" fmla="*/ 107 w 132"/>
                <a:gd name="T17" fmla="*/ 154 h 154"/>
                <a:gd name="T18" fmla="*/ 107 w 132"/>
                <a:gd name="T19" fmla="*/ 64 h 154"/>
                <a:gd name="T20" fmla="*/ 72 w 132"/>
                <a:gd name="T21" fmla="*/ 23 h 154"/>
                <a:gd name="T22" fmla="*/ 26 w 132"/>
                <a:gd name="T23" fmla="*/ 81 h 154"/>
                <a:gd name="T24" fmla="*/ 26 w 132"/>
                <a:gd name="T25" fmla="*/ 154 h 154"/>
                <a:gd name="T26" fmla="*/ 1 w 132"/>
                <a:gd name="T27" fmla="*/ 154 h 154"/>
                <a:gd name="T28" fmla="*/ 1 w 132"/>
                <a:gd name="T29" fmla="*/ 4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154">
                  <a:moveTo>
                    <a:pt x="1" y="40"/>
                  </a:moveTo>
                  <a:cubicBezTo>
                    <a:pt x="1" y="26"/>
                    <a:pt x="0" y="14"/>
                    <a:pt x="0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12"/>
                    <a:pt x="24" y="21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32" y="14"/>
                    <a:pt x="50" y="0"/>
                    <a:pt x="75" y="0"/>
                  </a:cubicBezTo>
                  <a:cubicBezTo>
                    <a:pt x="114" y="0"/>
                    <a:pt x="132" y="25"/>
                    <a:pt x="132" y="61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39"/>
                    <a:pt x="96" y="23"/>
                    <a:pt x="72" y="23"/>
                  </a:cubicBezTo>
                  <a:cubicBezTo>
                    <a:pt x="40" y="23"/>
                    <a:pt x="26" y="47"/>
                    <a:pt x="26" y="81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" y="154"/>
                    <a:pt x="1" y="154"/>
                    <a:pt x="1" y="154"/>
                  </a:cubicBezTo>
                  <a:lnTo>
                    <a:pt x="1" y="40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Rectangle 16"/>
            <p:cNvSpPr>
              <a:spLocks noChangeArrowheads="1"/>
            </p:cNvSpPr>
            <p:nvPr userDrawn="1"/>
          </p:nvSpPr>
          <p:spPr bwMode="auto">
            <a:xfrm>
              <a:off x="107315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17"/>
            <p:cNvSpPr>
              <a:spLocks noChangeArrowheads="1"/>
            </p:cNvSpPr>
            <p:nvPr userDrawn="1"/>
          </p:nvSpPr>
          <p:spPr bwMode="auto">
            <a:xfrm>
              <a:off x="1071563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18"/>
            <p:cNvSpPr>
              <a:spLocks noChangeArrowheads="1"/>
            </p:cNvSpPr>
            <p:nvPr userDrawn="1"/>
          </p:nvSpPr>
          <p:spPr bwMode="auto">
            <a:xfrm>
              <a:off x="1993900" y="6156325"/>
              <a:ext cx="28575" cy="176213"/>
            </a:xfrm>
            <a:prstGeom prst="rect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Oval 19"/>
            <p:cNvSpPr>
              <a:spLocks noChangeArrowheads="1"/>
            </p:cNvSpPr>
            <p:nvPr userDrawn="1"/>
          </p:nvSpPr>
          <p:spPr bwMode="auto">
            <a:xfrm>
              <a:off x="1990725" y="6105525"/>
              <a:ext cx="34925" cy="34925"/>
            </a:xfrm>
            <a:prstGeom prst="ellipse">
              <a:avLst/>
            </a:pr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3"/>
            <p:cNvSpPr>
              <a:spLocks/>
            </p:cNvSpPr>
            <p:nvPr userDrawn="1"/>
          </p:nvSpPr>
          <p:spPr bwMode="auto">
            <a:xfrm>
              <a:off x="504825" y="6030913"/>
              <a:ext cx="331787" cy="400050"/>
            </a:xfrm>
            <a:custGeom>
              <a:avLst/>
              <a:gdLst/>
              <a:ahLst/>
              <a:cxnLst/>
              <a:rect l="l" t="t" r="r" b="b"/>
              <a:pathLst>
                <a:path w="331787" h="400050">
                  <a:moveTo>
                    <a:pt x="130175" y="0"/>
                  </a:moveTo>
                  <a:lnTo>
                    <a:pt x="331787" y="0"/>
                  </a:lnTo>
                  <a:lnTo>
                    <a:pt x="203200" y="223838"/>
                  </a:lnTo>
                  <a:lnTo>
                    <a:pt x="203200" y="223838"/>
                  </a:lnTo>
                  <a:lnTo>
                    <a:pt x="203199" y="223838"/>
                  </a:lnTo>
                  <a:lnTo>
                    <a:pt x="101600" y="400050"/>
                  </a:lnTo>
                  <a:lnTo>
                    <a:pt x="1" y="223838"/>
                  </a:lnTo>
                  <a:lnTo>
                    <a:pt x="0" y="223838"/>
                  </a:lnTo>
                  <a:lnTo>
                    <a:pt x="0" y="223838"/>
                  </a:lnTo>
                  <a:lnTo>
                    <a:pt x="0" y="223837"/>
                  </a:lnTo>
                  <a:lnTo>
                    <a:pt x="1" y="223837"/>
                  </a:lnTo>
                  <a:lnTo>
                    <a:pt x="101600" y="4762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67" name="Freeform 24"/>
            <p:cNvSpPr>
              <a:spLocks noEditPoints="1"/>
            </p:cNvSpPr>
            <p:nvPr userDrawn="1"/>
          </p:nvSpPr>
          <p:spPr bwMode="auto">
            <a:xfrm>
              <a:off x="2378075" y="6102350"/>
              <a:ext cx="50800" cy="52388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44 h 44"/>
                <a:gd name="T4" fmla="*/ 0 w 44"/>
                <a:gd name="T5" fmla="*/ 22 h 44"/>
                <a:gd name="T6" fmla="*/ 22 w 44"/>
                <a:gd name="T7" fmla="*/ 0 h 44"/>
                <a:gd name="T8" fmla="*/ 44 w 44"/>
                <a:gd name="T9" fmla="*/ 22 h 44"/>
                <a:gd name="T10" fmla="*/ 40 w 44"/>
                <a:gd name="T11" fmla="*/ 22 h 44"/>
                <a:gd name="T12" fmla="*/ 22 w 44"/>
                <a:gd name="T13" fmla="*/ 4 h 44"/>
                <a:gd name="T14" fmla="*/ 4 w 44"/>
                <a:gd name="T15" fmla="*/ 22 h 44"/>
                <a:gd name="T16" fmla="*/ 22 w 44"/>
                <a:gd name="T17" fmla="*/ 40 h 44"/>
                <a:gd name="T18" fmla="*/ 40 w 44"/>
                <a:gd name="T19" fmla="*/ 22 h 44"/>
                <a:gd name="T20" fmla="*/ 23 w 44"/>
                <a:gd name="T21" fmla="*/ 11 h 44"/>
                <a:gd name="T22" fmla="*/ 32 w 44"/>
                <a:gd name="T23" fmla="*/ 17 h 44"/>
                <a:gd name="T24" fmla="*/ 25 w 44"/>
                <a:gd name="T25" fmla="*/ 24 h 44"/>
                <a:gd name="T26" fmla="*/ 32 w 44"/>
                <a:gd name="T27" fmla="*/ 32 h 44"/>
                <a:gd name="T28" fmla="*/ 27 w 44"/>
                <a:gd name="T29" fmla="*/ 32 h 44"/>
                <a:gd name="T30" fmla="*/ 21 w 44"/>
                <a:gd name="T31" fmla="*/ 24 h 44"/>
                <a:gd name="T32" fmla="*/ 18 w 44"/>
                <a:gd name="T33" fmla="*/ 24 h 44"/>
                <a:gd name="T34" fmla="*/ 18 w 44"/>
                <a:gd name="T35" fmla="*/ 32 h 44"/>
                <a:gd name="T36" fmla="*/ 14 w 44"/>
                <a:gd name="T37" fmla="*/ 32 h 44"/>
                <a:gd name="T38" fmla="*/ 14 w 44"/>
                <a:gd name="T39" fmla="*/ 11 h 44"/>
                <a:gd name="T40" fmla="*/ 23 w 44"/>
                <a:gd name="T41" fmla="*/ 11 h 44"/>
                <a:gd name="T42" fmla="*/ 18 w 44"/>
                <a:gd name="T43" fmla="*/ 14 h 44"/>
                <a:gd name="T44" fmla="*/ 18 w 44"/>
                <a:gd name="T45" fmla="*/ 21 h 44"/>
                <a:gd name="T46" fmla="*/ 23 w 44"/>
                <a:gd name="T47" fmla="*/ 21 h 44"/>
                <a:gd name="T48" fmla="*/ 28 w 44"/>
                <a:gd name="T49" fmla="*/ 17 h 44"/>
                <a:gd name="T50" fmla="*/ 23 w 44"/>
                <a:gd name="T51" fmla="*/ 14 h 44"/>
                <a:gd name="T52" fmla="*/ 18 w 44"/>
                <a:gd name="T53" fmla="*/ 1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34"/>
                    <a:pt x="34" y="44"/>
                    <a:pt x="22" y="44"/>
                  </a:cubicBezTo>
                  <a:cubicBezTo>
                    <a:pt x="10" y="44"/>
                    <a:pt x="0" y="34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34" y="0"/>
                    <a:pt x="44" y="9"/>
                    <a:pt x="44" y="22"/>
                  </a:cubicBezTo>
                  <a:close/>
                  <a:moveTo>
                    <a:pt x="40" y="22"/>
                  </a:moveTo>
                  <a:cubicBezTo>
                    <a:pt x="40" y="12"/>
                    <a:pt x="32" y="4"/>
                    <a:pt x="22" y="4"/>
                  </a:cubicBez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lose/>
                  <a:moveTo>
                    <a:pt x="23" y="11"/>
                  </a:moveTo>
                  <a:cubicBezTo>
                    <a:pt x="29" y="11"/>
                    <a:pt x="32" y="13"/>
                    <a:pt x="32" y="17"/>
                  </a:cubicBezTo>
                  <a:cubicBezTo>
                    <a:pt x="32" y="21"/>
                    <a:pt x="29" y="23"/>
                    <a:pt x="25" y="24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23" y="11"/>
                  </a:lnTo>
                  <a:close/>
                  <a:moveTo>
                    <a:pt x="18" y="14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6" y="21"/>
                    <a:pt x="28" y="20"/>
                    <a:pt x="28" y="17"/>
                  </a:cubicBezTo>
                  <a:cubicBezTo>
                    <a:pt x="28" y="15"/>
                    <a:pt x="26" y="14"/>
                    <a:pt x="23" y="14"/>
                  </a:cubicBezTo>
                  <a:lnTo>
                    <a:pt x="18" y="14"/>
                  </a:lnTo>
                  <a:close/>
                </a:path>
              </a:pathLst>
            </a:custGeom>
            <a:solidFill>
              <a:srgbClr val="384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1"/>
            <p:cNvSpPr>
              <a:spLocks/>
            </p:cNvSpPr>
            <p:nvPr userDrawn="1"/>
          </p:nvSpPr>
          <p:spPr bwMode="auto">
            <a:xfrm>
              <a:off x="504825" y="6078538"/>
              <a:ext cx="203200" cy="176213"/>
            </a:xfrm>
            <a:custGeom>
              <a:avLst/>
              <a:gdLst>
                <a:gd name="T0" fmla="*/ 0 w 128"/>
                <a:gd name="T1" fmla="*/ 111 h 111"/>
                <a:gd name="T2" fmla="*/ 128 w 128"/>
                <a:gd name="T3" fmla="*/ 111 h 111"/>
                <a:gd name="T4" fmla="*/ 64 w 128"/>
                <a:gd name="T5" fmla="*/ 0 h 111"/>
                <a:gd name="T6" fmla="*/ 0 w 128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11">
                  <a:moveTo>
                    <a:pt x="0" y="111"/>
                  </a:moveTo>
                  <a:lnTo>
                    <a:pt x="128" y="111"/>
                  </a:lnTo>
                  <a:lnTo>
                    <a:pt x="64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6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363538" y="279495"/>
            <a:ext cx="8432800" cy="6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Headline – Arial 36pt Bold</a:t>
            </a:r>
            <a:br>
              <a:rPr lang="en-US" noProof="0" dirty="0"/>
            </a:br>
            <a:r>
              <a:rPr lang="en-US" noProof="0" dirty="0"/>
              <a:t>Space for 2 lin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63538" y="1073150"/>
            <a:ext cx="8432800" cy="5285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 – 18pt</a:t>
            </a:r>
          </a:p>
          <a:p>
            <a:pPr lvl="1"/>
            <a:r>
              <a:rPr lang="en-US" noProof="0" dirty="0"/>
              <a:t>Second level – 16pt</a:t>
            </a:r>
          </a:p>
          <a:p>
            <a:pPr lvl="2"/>
            <a:r>
              <a:rPr lang="en-US" noProof="0" dirty="0"/>
              <a:t>Third level – 16pt</a:t>
            </a:r>
          </a:p>
          <a:p>
            <a:pPr lvl="3"/>
            <a:r>
              <a:rPr lang="en-US" noProof="0" dirty="0"/>
              <a:t>Fourth level – 14pt</a:t>
            </a:r>
          </a:p>
          <a:p>
            <a:pPr lvl="4"/>
            <a:r>
              <a:rPr lang="en-US" noProof="0" dirty="0"/>
              <a:t>Fifth level – 14pt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214688" y="6517547"/>
            <a:ext cx="2743200" cy="230832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noProof="0" dirty="0">
                <a:solidFill>
                  <a:schemeClr val="tx1">
                    <a:lumMod val="60000"/>
                    <a:lumOff val="40000"/>
                  </a:schemeClr>
                </a:solidFill>
                <a:latin typeface="Oslo" pitchFamily="34" charset="0"/>
              </a:rPr>
              <a:t>COMPANY CONFIDENTIAL</a:t>
            </a:r>
          </a:p>
        </p:txBody>
      </p:sp>
      <p:sp>
        <p:nvSpPr>
          <p:cNvPr id="23" name="Date Placeholder 3"/>
          <p:cNvSpPr>
            <a:spLocks noGrp="1" noChangeAspect="1"/>
          </p:cNvSpPr>
          <p:nvPr>
            <p:ph type="dt" sz="half" idx="2"/>
          </p:nvPr>
        </p:nvSpPr>
        <p:spPr>
          <a:xfrm>
            <a:off x="7428667" y="6389441"/>
            <a:ext cx="910116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24" name="Slide Number Placeholder 5"/>
          <p:cNvSpPr>
            <a:spLocks noGrp="1" noChangeAspect="1"/>
          </p:cNvSpPr>
          <p:nvPr userDrawn="1">
            <p:ph type="sldNum" sz="quarter" idx="4"/>
          </p:nvPr>
        </p:nvSpPr>
        <p:spPr>
          <a:xfrm>
            <a:off x="8353940" y="6389441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Oslo" pitchFamily="34" charset="0"/>
              </a:defRPr>
            </a:lvl1pPr>
          </a:lstStyle>
          <a:p>
            <a:pPr>
              <a:defRPr/>
            </a:pPr>
            <a:fld id="{91D03FF3-2B9E-4617-A592-48F56EC63E6E}" type="slidenum">
              <a:rPr lang="en-US" noProof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31" name="Rectangle 17"/>
          <p:cNvSpPr/>
          <p:nvPr userDrawn="1"/>
        </p:nvSpPr>
        <p:spPr bwMode="auto">
          <a:xfrm>
            <a:off x="6409826" y="0"/>
            <a:ext cx="828773" cy="171450"/>
          </a:xfrm>
          <a:custGeom>
            <a:avLst/>
            <a:gdLst/>
            <a:ahLst/>
            <a:cxnLst/>
            <a:rect l="l" t="t" r="r" b="b"/>
            <a:pathLst>
              <a:path w="828773" h="171450">
                <a:moveTo>
                  <a:pt x="99233" y="0"/>
                </a:moveTo>
                <a:lnTo>
                  <a:pt x="828773" y="0"/>
                </a:lnTo>
                <a:lnTo>
                  <a:pt x="729540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Rectangle 17"/>
          <p:cNvSpPr/>
          <p:nvPr userDrawn="1"/>
        </p:nvSpPr>
        <p:spPr bwMode="auto">
          <a:xfrm>
            <a:off x="0" y="0"/>
            <a:ext cx="6579109" cy="171450"/>
          </a:xfrm>
          <a:custGeom>
            <a:avLst/>
            <a:gdLst/>
            <a:ahLst/>
            <a:cxnLst/>
            <a:rect l="l" t="t" r="r" b="b"/>
            <a:pathLst>
              <a:path w="6579109" h="171450">
                <a:moveTo>
                  <a:pt x="0" y="0"/>
                </a:moveTo>
                <a:lnTo>
                  <a:pt x="5390641" y="0"/>
                </a:lnTo>
                <a:lnTo>
                  <a:pt x="6090420" y="0"/>
                </a:lnTo>
                <a:lnTo>
                  <a:pt x="6579109" y="0"/>
                </a:lnTo>
                <a:lnTo>
                  <a:pt x="6479876" y="171450"/>
                </a:lnTo>
                <a:lnTo>
                  <a:pt x="5581891" y="171450"/>
                </a:lnTo>
                <a:lnTo>
                  <a:pt x="5390641" y="171450"/>
                </a:lnTo>
                <a:lnTo>
                  <a:pt x="0" y="171450"/>
                </a:lnTo>
                <a:close/>
              </a:path>
            </a:pathLst>
          </a:custGeom>
          <a:solidFill>
            <a:schemeClr val="accent1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Rectangle 17"/>
          <p:cNvSpPr/>
          <p:nvPr userDrawn="1"/>
        </p:nvSpPr>
        <p:spPr bwMode="auto">
          <a:xfrm>
            <a:off x="7092280" y="0"/>
            <a:ext cx="2051718" cy="171450"/>
          </a:xfrm>
          <a:custGeom>
            <a:avLst/>
            <a:gdLst/>
            <a:ahLst/>
            <a:cxnLst/>
            <a:rect l="l" t="t" r="r" b="b"/>
            <a:pathLst>
              <a:path w="2051718" h="171450">
                <a:moveTo>
                  <a:pt x="99233" y="0"/>
                </a:moveTo>
                <a:lnTo>
                  <a:pt x="675297" y="0"/>
                </a:lnTo>
                <a:lnTo>
                  <a:pt x="828773" y="0"/>
                </a:lnTo>
                <a:lnTo>
                  <a:pt x="1146065" y="0"/>
                </a:lnTo>
                <a:lnTo>
                  <a:pt x="1404837" y="0"/>
                </a:lnTo>
                <a:lnTo>
                  <a:pt x="2051718" y="0"/>
                </a:lnTo>
                <a:lnTo>
                  <a:pt x="2051718" y="171450"/>
                </a:lnTo>
                <a:lnTo>
                  <a:pt x="1305604" y="171450"/>
                </a:lnTo>
                <a:lnTo>
                  <a:pt x="1046832" y="171450"/>
                </a:lnTo>
                <a:lnTo>
                  <a:pt x="576064" y="171450"/>
                </a:lnTo>
                <a:lnTo>
                  <a:pt x="576064" y="171450"/>
                </a:lnTo>
                <a:lnTo>
                  <a:pt x="0" y="171450"/>
                </a:lnTo>
                <a:close/>
              </a:path>
            </a:pathLst>
          </a:custGeom>
          <a:solidFill>
            <a:srgbClr val="BFF21C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tangle 17"/>
          <p:cNvSpPr/>
          <p:nvPr userDrawn="1"/>
        </p:nvSpPr>
        <p:spPr bwMode="auto">
          <a:xfrm>
            <a:off x="0" y="0"/>
            <a:ext cx="1188468" cy="171450"/>
          </a:xfrm>
          <a:custGeom>
            <a:avLst/>
            <a:gdLst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168375 w 1188468"/>
              <a:gd name="connsiteY3" fmla="*/ 34787 h 171450"/>
              <a:gd name="connsiteX4" fmla="*/ 1089235 w 1188468"/>
              <a:gd name="connsiteY4" fmla="*/ 171450 h 171450"/>
              <a:gd name="connsiteX5" fmla="*/ 816864 w 1188468"/>
              <a:gd name="connsiteY5" fmla="*/ 171450 h 171450"/>
              <a:gd name="connsiteX6" fmla="*/ 237145 w 1188468"/>
              <a:gd name="connsiteY6" fmla="*/ 171450 h 171450"/>
              <a:gd name="connsiteX7" fmla="*/ 0 w 1188468"/>
              <a:gd name="connsiteY7" fmla="*/ 171450 h 171450"/>
              <a:gd name="connsiteX8" fmla="*/ 0 w 1188468"/>
              <a:gd name="connsiteY8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816864 w 1188468"/>
              <a:gd name="connsiteY4" fmla="*/ 171450 h 171450"/>
              <a:gd name="connsiteX5" fmla="*/ 237145 w 1188468"/>
              <a:gd name="connsiteY5" fmla="*/ 171450 h 171450"/>
              <a:gd name="connsiteX6" fmla="*/ 0 w 1188468"/>
              <a:gd name="connsiteY6" fmla="*/ 171450 h 171450"/>
              <a:gd name="connsiteX7" fmla="*/ 0 w 1188468"/>
              <a:gd name="connsiteY7" fmla="*/ 0 h 171450"/>
              <a:gd name="connsiteX0" fmla="*/ 0 w 1188468"/>
              <a:gd name="connsiteY0" fmla="*/ 0 h 171450"/>
              <a:gd name="connsiteX1" fmla="*/ 336134 w 1188468"/>
              <a:gd name="connsiteY1" fmla="*/ 0 h 171450"/>
              <a:gd name="connsiteX2" fmla="*/ 1188468 w 1188468"/>
              <a:gd name="connsiteY2" fmla="*/ 0 h 171450"/>
              <a:gd name="connsiteX3" fmla="*/ 1089235 w 1188468"/>
              <a:gd name="connsiteY3" fmla="*/ 171450 h 171450"/>
              <a:gd name="connsiteX4" fmla="*/ 237145 w 1188468"/>
              <a:gd name="connsiteY4" fmla="*/ 171450 h 171450"/>
              <a:gd name="connsiteX5" fmla="*/ 0 w 1188468"/>
              <a:gd name="connsiteY5" fmla="*/ 171450 h 171450"/>
              <a:gd name="connsiteX6" fmla="*/ 0 w 1188468"/>
              <a:gd name="connsiteY6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237145 w 1188468"/>
              <a:gd name="connsiteY3" fmla="*/ 171450 h 171450"/>
              <a:gd name="connsiteX4" fmla="*/ 0 w 1188468"/>
              <a:gd name="connsiteY4" fmla="*/ 171450 h 171450"/>
              <a:gd name="connsiteX5" fmla="*/ 0 w 1188468"/>
              <a:gd name="connsiteY5" fmla="*/ 0 h 171450"/>
              <a:gd name="connsiteX0" fmla="*/ 0 w 1188468"/>
              <a:gd name="connsiteY0" fmla="*/ 0 h 171450"/>
              <a:gd name="connsiteX1" fmla="*/ 1188468 w 1188468"/>
              <a:gd name="connsiteY1" fmla="*/ 0 h 171450"/>
              <a:gd name="connsiteX2" fmla="*/ 1089235 w 1188468"/>
              <a:gd name="connsiteY2" fmla="*/ 171450 h 171450"/>
              <a:gd name="connsiteX3" fmla="*/ 0 w 1188468"/>
              <a:gd name="connsiteY3" fmla="*/ 171450 h 171450"/>
              <a:gd name="connsiteX4" fmla="*/ 0 w 1188468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468" h="171450">
                <a:moveTo>
                  <a:pt x="0" y="0"/>
                </a:moveTo>
                <a:lnTo>
                  <a:pt x="1188468" y="0"/>
                </a:lnTo>
                <a:lnTo>
                  <a:pt x="1089235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Rectangle 17"/>
          <p:cNvSpPr/>
          <p:nvPr userDrawn="1"/>
        </p:nvSpPr>
        <p:spPr bwMode="auto">
          <a:xfrm>
            <a:off x="8139112" y="0"/>
            <a:ext cx="1004886" cy="171450"/>
          </a:xfrm>
          <a:custGeom>
            <a:avLst/>
            <a:gdLst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496998 w 1004886"/>
              <a:gd name="connsiteY2" fmla="*/ 0 h 171450"/>
              <a:gd name="connsiteX3" fmla="*/ 828773 w 1004886"/>
              <a:gd name="connsiteY3" fmla="*/ 0 h 171450"/>
              <a:gd name="connsiteX4" fmla="*/ 1004886 w 1004886"/>
              <a:gd name="connsiteY4" fmla="*/ 0 h 171450"/>
              <a:gd name="connsiteX5" fmla="*/ 1004886 w 1004886"/>
              <a:gd name="connsiteY5" fmla="*/ 171450 h 171450"/>
              <a:gd name="connsiteX6" fmla="*/ 729540 w 1004886"/>
              <a:gd name="connsiteY6" fmla="*/ 171450 h 171450"/>
              <a:gd name="connsiteX7" fmla="*/ 555354 w 1004886"/>
              <a:gd name="connsiteY7" fmla="*/ 171450 h 171450"/>
              <a:gd name="connsiteX8" fmla="*/ 539405 w 1004886"/>
              <a:gd name="connsiteY8" fmla="*/ 171450 h 171450"/>
              <a:gd name="connsiteX9" fmla="*/ 464521 w 1004886"/>
              <a:gd name="connsiteY9" fmla="*/ 171450 h 171450"/>
              <a:gd name="connsiteX10" fmla="*/ 0 w 1004886"/>
              <a:gd name="connsiteY10" fmla="*/ 171450 h 171450"/>
              <a:gd name="connsiteX11" fmla="*/ 99233 w 1004886"/>
              <a:gd name="connsiteY11" fmla="*/ 0 h 171450"/>
              <a:gd name="connsiteX0" fmla="*/ 99233 w 1004886"/>
              <a:gd name="connsiteY0" fmla="*/ 0 h 171450"/>
              <a:gd name="connsiteX1" fmla="*/ 456246 w 1004886"/>
              <a:gd name="connsiteY1" fmla="*/ 0 h 171450"/>
              <a:gd name="connsiteX2" fmla="*/ 828773 w 1004886"/>
              <a:gd name="connsiteY2" fmla="*/ 0 h 171450"/>
              <a:gd name="connsiteX3" fmla="*/ 1004886 w 1004886"/>
              <a:gd name="connsiteY3" fmla="*/ 0 h 171450"/>
              <a:gd name="connsiteX4" fmla="*/ 1004886 w 1004886"/>
              <a:gd name="connsiteY4" fmla="*/ 171450 h 171450"/>
              <a:gd name="connsiteX5" fmla="*/ 729540 w 1004886"/>
              <a:gd name="connsiteY5" fmla="*/ 171450 h 171450"/>
              <a:gd name="connsiteX6" fmla="*/ 555354 w 1004886"/>
              <a:gd name="connsiteY6" fmla="*/ 171450 h 171450"/>
              <a:gd name="connsiteX7" fmla="*/ 539405 w 1004886"/>
              <a:gd name="connsiteY7" fmla="*/ 171450 h 171450"/>
              <a:gd name="connsiteX8" fmla="*/ 464521 w 1004886"/>
              <a:gd name="connsiteY8" fmla="*/ 171450 h 171450"/>
              <a:gd name="connsiteX9" fmla="*/ 0 w 1004886"/>
              <a:gd name="connsiteY9" fmla="*/ 171450 h 171450"/>
              <a:gd name="connsiteX10" fmla="*/ 99233 w 1004886"/>
              <a:gd name="connsiteY10" fmla="*/ 0 h 171450"/>
              <a:gd name="connsiteX0" fmla="*/ 99233 w 1004886"/>
              <a:gd name="connsiteY0" fmla="*/ 0 h 171450"/>
              <a:gd name="connsiteX1" fmla="*/ 828773 w 1004886"/>
              <a:gd name="connsiteY1" fmla="*/ 0 h 171450"/>
              <a:gd name="connsiteX2" fmla="*/ 1004886 w 1004886"/>
              <a:gd name="connsiteY2" fmla="*/ 0 h 171450"/>
              <a:gd name="connsiteX3" fmla="*/ 1004886 w 1004886"/>
              <a:gd name="connsiteY3" fmla="*/ 171450 h 171450"/>
              <a:gd name="connsiteX4" fmla="*/ 729540 w 1004886"/>
              <a:gd name="connsiteY4" fmla="*/ 171450 h 171450"/>
              <a:gd name="connsiteX5" fmla="*/ 555354 w 1004886"/>
              <a:gd name="connsiteY5" fmla="*/ 171450 h 171450"/>
              <a:gd name="connsiteX6" fmla="*/ 539405 w 1004886"/>
              <a:gd name="connsiteY6" fmla="*/ 171450 h 171450"/>
              <a:gd name="connsiteX7" fmla="*/ 464521 w 1004886"/>
              <a:gd name="connsiteY7" fmla="*/ 171450 h 171450"/>
              <a:gd name="connsiteX8" fmla="*/ 0 w 1004886"/>
              <a:gd name="connsiteY8" fmla="*/ 171450 h 171450"/>
              <a:gd name="connsiteX9" fmla="*/ 99233 w 1004886"/>
              <a:gd name="connsiteY9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729540 w 1004886"/>
              <a:gd name="connsiteY3" fmla="*/ 171450 h 171450"/>
              <a:gd name="connsiteX4" fmla="*/ 555354 w 1004886"/>
              <a:gd name="connsiteY4" fmla="*/ 171450 h 171450"/>
              <a:gd name="connsiteX5" fmla="*/ 539405 w 1004886"/>
              <a:gd name="connsiteY5" fmla="*/ 171450 h 171450"/>
              <a:gd name="connsiteX6" fmla="*/ 464521 w 1004886"/>
              <a:gd name="connsiteY6" fmla="*/ 171450 h 171450"/>
              <a:gd name="connsiteX7" fmla="*/ 0 w 1004886"/>
              <a:gd name="connsiteY7" fmla="*/ 171450 h 171450"/>
              <a:gd name="connsiteX8" fmla="*/ 99233 w 1004886"/>
              <a:gd name="connsiteY8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55354 w 1004886"/>
              <a:gd name="connsiteY3" fmla="*/ 171450 h 171450"/>
              <a:gd name="connsiteX4" fmla="*/ 539405 w 1004886"/>
              <a:gd name="connsiteY4" fmla="*/ 171450 h 171450"/>
              <a:gd name="connsiteX5" fmla="*/ 464521 w 1004886"/>
              <a:gd name="connsiteY5" fmla="*/ 171450 h 171450"/>
              <a:gd name="connsiteX6" fmla="*/ 0 w 1004886"/>
              <a:gd name="connsiteY6" fmla="*/ 171450 h 171450"/>
              <a:gd name="connsiteX7" fmla="*/ 99233 w 1004886"/>
              <a:gd name="connsiteY7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539405 w 1004886"/>
              <a:gd name="connsiteY3" fmla="*/ 171450 h 171450"/>
              <a:gd name="connsiteX4" fmla="*/ 464521 w 1004886"/>
              <a:gd name="connsiteY4" fmla="*/ 171450 h 171450"/>
              <a:gd name="connsiteX5" fmla="*/ 0 w 1004886"/>
              <a:gd name="connsiteY5" fmla="*/ 171450 h 171450"/>
              <a:gd name="connsiteX6" fmla="*/ 99233 w 1004886"/>
              <a:gd name="connsiteY6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464521 w 1004886"/>
              <a:gd name="connsiteY3" fmla="*/ 171450 h 171450"/>
              <a:gd name="connsiteX4" fmla="*/ 0 w 1004886"/>
              <a:gd name="connsiteY4" fmla="*/ 171450 h 171450"/>
              <a:gd name="connsiteX5" fmla="*/ 99233 w 1004886"/>
              <a:gd name="connsiteY5" fmla="*/ 0 h 171450"/>
              <a:gd name="connsiteX0" fmla="*/ 99233 w 1004886"/>
              <a:gd name="connsiteY0" fmla="*/ 0 h 171450"/>
              <a:gd name="connsiteX1" fmla="*/ 1004886 w 1004886"/>
              <a:gd name="connsiteY1" fmla="*/ 0 h 171450"/>
              <a:gd name="connsiteX2" fmla="*/ 1004886 w 1004886"/>
              <a:gd name="connsiteY2" fmla="*/ 171450 h 171450"/>
              <a:gd name="connsiteX3" fmla="*/ 0 w 1004886"/>
              <a:gd name="connsiteY3" fmla="*/ 171450 h 171450"/>
              <a:gd name="connsiteX4" fmla="*/ 99233 w 1004886"/>
              <a:gd name="connsiteY4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886" h="171450">
                <a:moveTo>
                  <a:pt x="99233" y="0"/>
                </a:moveTo>
                <a:lnTo>
                  <a:pt x="1004886" y="0"/>
                </a:lnTo>
                <a:lnTo>
                  <a:pt x="1004886" y="171450"/>
                </a:lnTo>
                <a:lnTo>
                  <a:pt x="0" y="171450"/>
                </a:lnTo>
                <a:lnTo>
                  <a:pt x="99233" y="0"/>
                </a:lnTo>
                <a:close/>
              </a:path>
            </a:pathLst>
          </a:custGeom>
          <a:solidFill>
            <a:schemeClr val="accent4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472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slo" pitchFamily="34" charset="0"/>
        </a:defRPr>
      </a:lvl9pPr>
    </p:titleStyle>
    <p:bodyStyle>
      <a:lvl1pPr marL="173038" indent="-173038" algn="l" rtl="0" eaLnBrk="1" fontAlgn="base" hangingPunct="1"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0563" indent="-233363" algn="l" rtl="0" eaLnBrk="1" fontAlgn="base" hangingPunct="1">
        <a:spcBef>
          <a:spcPts val="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7763" indent="-233363" algn="l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68400" indent="-17780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12863" indent="-144463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81138" indent="-160338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Oslo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90663" indent="0" algn="l" defTabSz="9144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573897"/>
            <a:ext cx="9144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4195702"/>
            <a:ext cx="9144000" cy="20815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86058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80" r:id="rId1"/>
    <p:sldLayoutId id="2147484281" r:id="rId2"/>
  </p:sldLayoutIdLst>
  <mc:AlternateContent xmlns:mc="http://schemas.openxmlformats.org/markup-compatibility/2006" xmlns:p14="http://schemas.microsoft.com/office/powerpoint/2010/main">
    <mc:Choice Requires="p14">
      <p:transition spd="slow" p14:dur="2000" advClick="0">
        <p:fade/>
      </p:transition>
    </mc:Choice>
    <mc:Fallback xmlns="">
      <p:transition xmlns:p14="http://schemas.microsoft.com/office/powerpoint/2010/main" spd="slow" advClick="0">
        <p:fade/>
      </p:transition>
    </mc:Fallback>
  </mc:AlternateContent>
  <p:txStyles>
    <p:titleStyle>
      <a:lvl1pPr algn="ctr" defTabSz="457200" rtl="0" eaLnBrk="1" latinLnBrk="0" hangingPunct="1">
        <a:spcBef>
          <a:spcPct val="0"/>
        </a:spcBef>
        <a:buNone/>
        <a:defRPr sz="4400" kern="1200" spc="0">
          <a:solidFill>
            <a:schemeClr val="tx1">
              <a:lumMod val="7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ctr" defTabSz="457200" rtl="0" eaLnBrk="1" latinLnBrk="0" hangingPunct="1">
        <a:lnSpc>
          <a:spcPct val="110000"/>
        </a:lnSpc>
        <a:spcBef>
          <a:spcPct val="20000"/>
        </a:spcBef>
        <a:buFontTx/>
        <a:buNone/>
        <a:defRPr sz="2400" kern="1200" spc="0">
          <a:solidFill>
            <a:schemeClr val="tx1">
              <a:lumMod val="7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3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/>
          </p:nvPr>
        </p:nvSpPr>
        <p:spPr>
          <a:xfrm>
            <a:off x="289791" y="1118173"/>
            <a:ext cx="5667534" cy="1772793"/>
          </a:xfrm>
        </p:spPr>
        <p:txBody>
          <a:bodyPr/>
          <a:lstStyle/>
          <a:p>
            <a:r>
              <a:rPr lang="en-US" sz="4800" dirty="0"/>
              <a:t>How I failed</a:t>
            </a:r>
            <a:br>
              <a:rPr lang="en-US" sz="4800" dirty="0"/>
            </a:br>
            <a:r>
              <a:rPr lang="en-US" sz="4800" dirty="0"/>
              <a:t>to build a runbook automation system</a:t>
            </a:r>
          </a:p>
        </p:txBody>
      </p:sp>
      <p:sp>
        <p:nvSpPr>
          <p:cNvPr id="31" name="Subtitle 30"/>
          <p:cNvSpPr>
            <a:spLocks noGrp="1"/>
          </p:cNvSpPr>
          <p:nvPr>
            <p:ph type="subTitle" idx="1"/>
          </p:nvPr>
        </p:nvSpPr>
        <p:spPr>
          <a:xfrm>
            <a:off x="289791" y="3045053"/>
            <a:ext cx="5669280" cy="488157"/>
          </a:xfrm>
        </p:spPr>
        <p:txBody>
          <a:bodyPr/>
          <a:lstStyle/>
          <a:p>
            <a:r>
              <a:rPr lang="en-US" sz="4000" dirty="0"/>
              <a:t>And what I learne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9791" y="4145681"/>
            <a:ext cx="7364163" cy="1341988"/>
          </a:xfrm>
        </p:spPr>
        <p:txBody>
          <a:bodyPr/>
          <a:lstStyle/>
          <a:p>
            <a:r>
              <a:rPr lang="en-US" sz="2800" dirty="0"/>
              <a:t>Tim Bonci, 2019-06-13</a:t>
            </a:r>
          </a:p>
          <a:p>
            <a:r>
              <a:rPr lang="en-US" sz="2800" dirty="0" err="1"/>
              <a:t>tim</a:t>
            </a:r>
            <a:r>
              <a:rPr lang="en-US" sz="2800" dirty="0"/>
              <a:t> at </a:t>
            </a:r>
            <a:r>
              <a:rPr lang="en-US" sz="2800" dirty="0" err="1"/>
              <a:t>bonci</a:t>
            </a:r>
            <a:r>
              <a:rPr lang="en-US" sz="2800" dirty="0"/>
              <a:t> dot net</a:t>
            </a:r>
          </a:p>
        </p:txBody>
      </p:sp>
      <p:sp>
        <p:nvSpPr>
          <p:cNvPr id="7" name="Subtitle 30"/>
          <p:cNvSpPr txBox="1">
            <a:spLocks/>
          </p:cNvSpPr>
          <p:nvPr/>
        </p:nvSpPr>
        <p:spPr>
          <a:xfrm>
            <a:off x="371475" y="5243591"/>
            <a:ext cx="5633720" cy="48815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8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Oslo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Reduce this toil, they sai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9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See the full stack, they said</a:t>
            </a:r>
          </a:p>
        </p:txBody>
      </p:sp>
    </p:spTree>
    <p:extLst>
      <p:ext uri="{BB962C8B-B14F-4D97-AF65-F5344CB8AC3E}">
        <p14:creationId xmlns:p14="http://schemas.microsoft.com/office/powerpoint/2010/main" val="27546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Reduce this toil, they sai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10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You try drawing a sword and shield in PowerPoint Freeform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AD8F6A4-A54F-4E82-B33F-AF2352FBA3C7}"/>
              </a:ext>
            </a:extLst>
          </p:cNvPr>
          <p:cNvSpPr/>
          <p:nvPr/>
        </p:nvSpPr>
        <p:spPr bwMode="auto">
          <a:xfrm>
            <a:off x="1363852" y="2045776"/>
            <a:ext cx="1921789" cy="3816198"/>
          </a:xfrm>
          <a:custGeom>
            <a:avLst/>
            <a:gdLst>
              <a:gd name="connsiteX0" fmla="*/ 340962 w 867905"/>
              <a:gd name="connsiteY0" fmla="*/ 0 h 2665709"/>
              <a:gd name="connsiteX1" fmla="*/ 340962 w 867905"/>
              <a:gd name="connsiteY1" fmla="*/ 0 h 2665709"/>
              <a:gd name="connsiteX2" fmla="*/ 433952 w 867905"/>
              <a:gd name="connsiteY2" fmla="*/ 108488 h 2665709"/>
              <a:gd name="connsiteX3" fmla="*/ 495945 w 867905"/>
              <a:gd name="connsiteY3" fmla="*/ 201478 h 2665709"/>
              <a:gd name="connsiteX4" fmla="*/ 542440 w 867905"/>
              <a:gd name="connsiteY4" fmla="*/ 263471 h 2665709"/>
              <a:gd name="connsiteX5" fmla="*/ 526942 w 867905"/>
              <a:gd name="connsiteY5" fmla="*/ 1983783 h 2665709"/>
              <a:gd name="connsiteX6" fmla="*/ 867905 w 867905"/>
              <a:gd name="connsiteY6" fmla="*/ 1983783 h 2665709"/>
              <a:gd name="connsiteX7" fmla="*/ 867905 w 867905"/>
              <a:gd name="connsiteY7" fmla="*/ 2092271 h 2665709"/>
              <a:gd name="connsiteX8" fmla="*/ 433952 w 867905"/>
              <a:gd name="connsiteY8" fmla="*/ 2092271 h 2665709"/>
              <a:gd name="connsiteX9" fmla="*/ 449450 w 867905"/>
              <a:gd name="connsiteY9" fmla="*/ 2665709 h 2665709"/>
              <a:gd name="connsiteX10" fmla="*/ 294467 w 867905"/>
              <a:gd name="connsiteY10" fmla="*/ 2665709 h 2665709"/>
              <a:gd name="connsiteX11" fmla="*/ 309966 w 867905"/>
              <a:gd name="connsiteY11" fmla="*/ 2092271 h 2665709"/>
              <a:gd name="connsiteX12" fmla="*/ 0 w 867905"/>
              <a:gd name="connsiteY12" fmla="*/ 2092271 h 2665709"/>
              <a:gd name="connsiteX13" fmla="*/ 30996 w 867905"/>
              <a:gd name="connsiteY13" fmla="*/ 1968285 h 2665709"/>
              <a:gd name="connsiteX14" fmla="*/ 263471 w 867905"/>
              <a:gd name="connsiteY14" fmla="*/ 1952787 h 2665709"/>
              <a:gd name="connsiteX15" fmla="*/ 201478 w 867905"/>
              <a:gd name="connsiteY15" fmla="*/ 139485 h 2665709"/>
              <a:gd name="connsiteX16" fmla="*/ 340962 w 867905"/>
              <a:gd name="connsiteY16" fmla="*/ 0 h 2665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67905" h="2665709">
                <a:moveTo>
                  <a:pt x="340962" y="0"/>
                </a:moveTo>
                <a:lnTo>
                  <a:pt x="340962" y="0"/>
                </a:lnTo>
                <a:cubicBezTo>
                  <a:pt x="371959" y="36163"/>
                  <a:pt x="404912" y="70736"/>
                  <a:pt x="433952" y="108488"/>
                </a:cubicBezTo>
                <a:cubicBezTo>
                  <a:pt x="456666" y="138016"/>
                  <a:pt x="469603" y="175136"/>
                  <a:pt x="495945" y="201478"/>
                </a:cubicBezTo>
                <a:cubicBezTo>
                  <a:pt x="546093" y="251626"/>
                  <a:pt x="542440" y="226055"/>
                  <a:pt x="542440" y="263471"/>
                </a:cubicBezTo>
                <a:lnTo>
                  <a:pt x="526942" y="1983783"/>
                </a:lnTo>
                <a:lnTo>
                  <a:pt x="867905" y="1983783"/>
                </a:lnTo>
                <a:lnTo>
                  <a:pt x="867905" y="2092271"/>
                </a:lnTo>
                <a:lnTo>
                  <a:pt x="433952" y="2092271"/>
                </a:lnTo>
                <a:lnTo>
                  <a:pt x="449450" y="2665709"/>
                </a:lnTo>
                <a:lnTo>
                  <a:pt x="294467" y="2665709"/>
                </a:lnTo>
                <a:lnTo>
                  <a:pt x="309966" y="2092271"/>
                </a:lnTo>
                <a:lnTo>
                  <a:pt x="0" y="2092271"/>
                </a:lnTo>
                <a:lnTo>
                  <a:pt x="30996" y="1968285"/>
                </a:lnTo>
                <a:lnTo>
                  <a:pt x="263471" y="1952787"/>
                </a:lnTo>
                <a:lnTo>
                  <a:pt x="201478" y="139485"/>
                </a:lnTo>
                <a:lnTo>
                  <a:pt x="340962" y="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B0D099F-7806-4D0D-A0B8-A96387060D74}"/>
              </a:ext>
            </a:extLst>
          </p:cNvPr>
          <p:cNvSpPr/>
          <p:nvPr/>
        </p:nvSpPr>
        <p:spPr bwMode="auto">
          <a:xfrm>
            <a:off x="4370522" y="2495048"/>
            <a:ext cx="2913681" cy="2898362"/>
          </a:xfrm>
          <a:custGeom>
            <a:avLst/>
            <a:gdLst>
              <a:gd name="connsiteX0" fmla="*/ 201478 w 2913681"/>
              <a:gd name="connsiteY0" fmla="*/ 77671 h 2898362"/>
              <a:gd name="connsiteX1" fmla="*/ 588936 w 2913681"/>
              <a:gd name="connsiteY1" fmla="*/ 310145 h 2898362"/>
              <a:gd name="connsiteX2" fmla="*/ 2557220 w 2913681"/>
              <a:gd name="connsiteY2" fmla="*/ 310145 h 2898362"/>
              <a:gd name="connsiteX3" fmla="*/ 2898183 w 2913681"/>
              <a:gd name="connsiteY3" fmla="*/ 77671 h 2898362"/>
              <a:gd name="connsiteX4" fmla="*/ 2913681 w 2913681"/>
              <a:gd name="connsiteY4" fmla="*/ 1890972 h 2898362"/>
              <a:gd name="connsiteX5" fmla="*/ 1301858 w 2913681"/>
              <a:gd name="connsiteY5" fmla="*/ 2898362 h 2898362"/>
              <a:gd name="connsiteX6" fmla="*/ 0 w 2913681"/>
              <a:gd name="connsiteY6" fmla="*/ 1875474 h 2898362"/>
              <a:gd name="connsiteX7" fmla="*/ 46495 w 2913681"/>
              <a:gd name="connsiteY7" fmla="*/ 1441521 h 2898362"/>
              <a:gd name="connsiteX8" fmla="*/ 77492 w 2913681"/>
              <a:gd name="connsiteY8" fmla="*/ 1240044 h 2898362"/>
              <a:gd name="connsiteX9" fmla="*/ 92990 w 2913681"/>
              <a:gd name="connsiteY9" fmla="*/ 1054064 h 2898362"/>
              <a:gd name="connsiteX10" fmla="*/ 123986 w 2913681"/>
              <a:gd name="connsiteY10" fmla="*/ 899081 h 2898362"/>
              <a:gd name="connsiteX11" fmla="*/ 139485 w 2913681"/>
              <a:gd name="connsiteY11" fmla="*/ 759596 h 2898362"/>
              <a:gd name="connsiteX12" fmla="*/ 170481 w 2913681"/>
              <a:gd name="connsiteY12" fmla="*/ 558118 h 2898362"/>
              <a:gd name="connsiteX13" fmla="*/ 201478 w 2913681"/>
              <a:gd name="connsiteY13" fmla="*/ 418633 h 2898362"/>
              <a:gd name="connsiteX14" fmla="*/ 216976 w 2913681"/>
              <a:gd name="connsiteY14" fmla="*/ 279149 h 2898362"/>
              <a:gd name="connsiteX15" fmla="*/ 247973 w 2913681"/>
              <a:gd name="connsiteY15" fmla="*/ 46674 h 2898362"/>
              <a:gd name="connsiteX16" fmla="*/ 201478 w 2913681"/>
              <a:gd name="connsiteY16" fmla="*/ 46674 h 2898362"/>
              <a:gd name="connsiteX17" fmla="*/ 154983 w 2913681"/>
              <a:gd name="connsiteY17" fmla="*/ 77671 h 2898362"/>
              <a:gd name="connsiteX18" fmla="*/ 123986 w 2913681"/>
              <a:gd name="connsiteY18" fmla="*/ 77671 h 2898362"/>
              <a:gd name="connsiteX19" fmla="*/ 185980 w 2913681"/>
              <a:gd name="connsiteY19" fmla="*/ 93169 h 2898362"/>
              <a:gd name="connsiteX20" fmla="*/ 247973 w 2913681"/>
              <a:gd name="connsiteY20" fmla="*/ 201657 h 2898362"/>
              <a:gd name="connsiteX21" fmla="*/ 309966 w 2913681"/>
              <a:gd name="connsiteY21" fmla="*/ 294647 h 2898362"/>
              <a:gd name="connsiteX22" fmla="*/ 356461 w 2913681"/>
              <a:gd name="connsiteY22" fmla="*/ 403135 h 2898362"/>
              <a:gd name="connsiteX23" fmla="*/ 402956 w 2913681"/>
              <a:gd name="connsiteY23" fmla="*/ 449630 h 2898362"/>
              <a:gd name="connsiteX24" fmla="*/ 418454 w 2913681"/>
              <a:gd name="connsiteY24" fmla="*/ 496125 h 2898362"/>
              <a:gd name="connsiteX25" fmla="*/ 433953 w 2913681"/>
              <a:gd name="connsiteY25" fmla="*/ 449630 h 2898362"/>
              <a:gd name="connsiteX26" fmla="*/ 418454 w 2913681"/>
              <a:gd name="connsiteY26" fmla="*/ 279149 h 2898362"/>
              <a:gd name="connsiteX27" fmla="*/ 402956 w 2913681"/>
              <a:gd name="connsiteY27" fmla="*/ 170660 h 2898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913681" h="2898362">
                <a:moveTo>
                  <a:pt x="201478" y="77671"/>
                </a:moveTo>
                <a:lnTo>
                  <a:pt x="588936" y="310145"/>
                </a:lnTo>
                <a:lnTo>
                  <a:pt x="2557220" y="310145"/>
                </a:lnTo>
                <a:lnTo>
                  <a:pt x="2898183" y="77671"/>
                </a:lnTo>
                <a:lnTo>
                  <a:pt x="2913681" y="1890972"/>
                </a:lnTo>
                <a:lnTo>
                  <a:pt x="1301858" y="2898362"/>
                </a:lnTo>
                <a:lnTo>
                  <a:pt x="0" y="1875474"/>
                </a:lnTo>
                <a:cubicBezTo>
                  <a:pt x="77836" y="1369546"/>
                  <a:pt x="-13560" y="2002035"/>
                  <a:pt x="46495" y="1441521"/>
                </a:cubicBezTo>
                <a:cubicBezTo>
                  <a:pt x="53734" y="1373959"/>
                  <a:pt x="69396" y="1307509"/>
                  <a:pt x="77492" y="1240044"/>
                </a:cubicBezTo>
                <a:cubicBezTo>
                  <a:pt x="84904" y="1178279"/>
                  <a:pt x="84585" y="1115702"/>
                  <a:pt x="92990" y="1054064"/>
                </a:cubicBezTo>
                <a:cubicBezTo>
                  <a:pt x="100108" y="1001863"/>
                  <a:pt x="115769" y="951120"/>
                  <a:pt x="123986" y="899081"/>
                </a:cubicBezTo>
                <a:cubicBezTo>
                  <a:pt x="131282" y="852872"/>
                  <a:pt x="133682" y="806016"/>
                  <a:pt x="139485" y="759596"/>
                </a:cubicBezTo>
                <a:cubicBezTo>
                  <a:pt x="144447" y="719900"/>
                  <a:pt x="161864" y="601203"/>
                  <a:pt x="170481" y="558118"/>
                </a:cubicBezTo>
                <a:cubicBezTo>
                  <a:pt x="187406" y="473495"/>
                  <a:pt x="187941" y="513393"/>
                  <a:pt x="201478" y="418633"/>
                </a:cubicBezTo>
                <a:cubicBezTo>
                  <a:pt x="208094" y="372322"/>
                  <a:pt x="212541" y="325719"/>
                  <a:pt x="216976" y="279149"/>
                </a:cubicBezTo>
                <a:cubicBezTo>
                  <a:pt x="237202" y="66777"/>
                  <a:pt x="211918" y="154840"/>
                  <a:pt x="247973" y="46674"/>
                </a:cubicBezTo>
                <a:cubicBezTo>
                  <a:pt x="222193" y="-30667"/>
                  <a:pt x="246544" y="1608"/>
                  <a:pt x="201478" y="46674"/>
                </a:cubicBezTo>
                <a:cubicBezTo>
                  <a:pt x="188307" y="59845"/>
                  <a:pt x="170481" y="67339"/>
                  <a:pt x="154983" y="77671"/>
                </a:cubicBezTo>
                <a:cubicBezTo>
                  <a:pt x="-130034" y="46001"/>
                  <a:pt x="54477" y="65033"/>
                  <a:pt x="123986" y="77671"/>
                </a:cubicBezTo>
                <a:cubicBezTo>
                  <a:pt x="144943" y="81481"/>
                  <a:pt x="165315" y="88003"/>
                  <a:pt x="185980" y="93169"/>
                </a:cubicBezTo>
                <a:cubicBezTo>
                  <a:pt x="293212" y="254021"/>
                  <a:pt x="129981" y="5005"/>
                  <a:pt x="247973" y="201657"/>
                </a:cubicBezTo>
                <a:cubicBezTo>
                  <a:pt x="267140" y="233601"/>
                  <a:pt x="298186" y="259305"/>
                  <a:pt x="309966" y="294647"/>
                </a:cubicBezTo>
                <a:cubicBezTo>
                  <a:pt x="322614" y="332592"/>
                  <a:pt x="332520" y="369618"/>
                  <a:pt x="356461" y="403135"/>
                </a:cubicBezTo>
                <a:cubicBezTo>
                  <a:pt x="369201" y="420970"/>
                  <a:pt x="387458" y="434132"/>
                  <a:pt x="402956" y="449630"/>
                </a:cubicBezTo>
                <a:cubicBezTo>
                  <a:pt x="408122" y="465128"/>
                  <a:pt x="402117" y="496125"/>
                  <a:pt x="418454" y="496125"/>
                </a:cubicBezTo>
                <a:cubicBezTo>
                  <a:pt x="434791" y="496125"/>
                  <a:pt x="433953" y="465967"/>
                  <a:pt x="433953" y="449630"/>
                </a:cubicBezTo>
                <a:cubicBezTo>
                  <a:pt x="433953" y="392569"/>
                  <a:pt x="426524" y="335637"/>
                  <a:pt x="418454" y="279149"/>
                </a:cubicBezTo>
                <a:cubicBezTo>
                  <a:pt x="396421" y="124923"/>
                  <a:pt x="402956" y="360465"/>
                  <a:pt x="402956" y="170660"/>
                </a:cubicBezTo>
              </a:path>
            </a:pathLst>
          </a:custGeom>
          <a:noFill/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8D439ED-7547-49D2-B215-E14B8BB991EF}"/>
              </a:ext>
            </a:extLst>
          </p:cNvPr>
          <p:cNvSpPr/>
          <p:nvPr/>
        </p:nvSpPr>
        <p:spPr bwMode="auto">
          <a:xfrm>
            <a:off x="4572000" y="2293749"/>
            <a:ext cx="2913681" cy="3413242"/>
          </a:xfrm>
          <a:custGeom>
            <a:avLst/>
            <a:gdLst>
              <a:gd name="connsiteX0" fmla="*/ 0 w 2386739"/>
              <a:gd name="connsiteY0" fmla="*/ 0 h 2727702"/>
              <a:gd name="connsiteX1" fmla="*/ 2371241 w 2386739"/>
              <a:gd name="connsiteY1" fmla="*/ 0 h 2727702"/>
              <a:gd name="connsiteX2" fmla="*/ 2386739 w 2386739"/>
              <a:gd name="connsiteY2" fmla="*/ 2185261 h 2727702"/>
              <a:gd name="connsiteX3" fmla="*/ 1131376 w 2386739"/>
              <a:gd name="connsiteY3" fmla="*/ 2727702 h 2727702"/>
              <a:gd name="connsiteX4" fmla="*/ 46495 w 2386739"/>
              <a:gd name="connsiteY4" fmla="*/ 2247254 h 2727702"/>
              <a:gd name="connsiteX5" fmla="*/ 0 w 2386739"/>
              <a:gd name="connsiteY5" fmla="*/ 0 h 272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86739" h="2727702">
                <a:moveTo>
                  <a:pt x="0" y="0"/>
                </a:moveTo>
                <a:lnTo>
                  <a:pt x="2371241" y="0"/>
                </a:lnTo>
                <a:lnTo>
                  <a:pt x="2386739" y="2185261"/>
                </a:lnTo>
                <a:lnTo>
                  <a:pt x="1131376" y="2727702"/>
                </a:lnTo>
                <a:lnTo>
                  <a:pt x="46495" y="2247254"/>
                </a:lnTo>
                <a:lnTo>
                  <a:pt x="0" y="0"/>
                </a:lnTo>
                <a:close/>
              </a:path>
            </a:pathLst>
          </a:custGeom>
          <a:solidFill>
            <a:srgbClr val="AD00B0"/>
          </a:solidFill>
          <a:ln w="6350" cap="flat">
            <a:noFill/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Expertise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68A9B4-E38B-4ECD-B501-C0B8469759EC}"/>
              </a:ext>
            </a:extLst>
          </p:cNvPr>
          <p:cNvSpPr txBox="1"/>
          <p:nvPr/>
        </p:nvSpPr>
        <p:spPr>
          <a:xfrm>
            <a:off x="1859797" y="2495048"/>
            <a:ext cx="914400" cy="2338437"/>
          </a:xfrm>
          <a:prstGeom prst="rect">
            <a:avLst/>
          </a:prstGeom>
          <a:noFill/>
        </p:spPr>
        <p:txBody>
          <a:bodyPr vert="vert270" wrap="none" lIns="45720" tIns="45720" rIns="45720" bIns="45720" rtlCol="0" anchor="ctr">
            <a:noAutofit/>
          </a:bodyPr>
          <a:lstStyle/>
          <a:p>
            <a:r>
              <a:rPr lang="en-US" sz="3600" dirty="0"/>
              <a:t>Automation</a:t>
            </a:r>
          </a:p>
        </p:txBody>
      </p:sp>
    </p:spTree>
    <p:extLst>
      <p:ext uri="{BB962C8B-B14F-4D97-AF65-F5344CB8AC3E}">
        <p14:creationId xmlns:p14="http://schemas.microsoft.com/office/powerpoint/2010/main" val="27840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 dirty="0"/>
              <a:t>Ques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5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US" sz="2400" b="1" dirty="0">
                <a:solidFill>
                  <a:schemeClr val="bg1"/>
                </a:solidFill>
              </a:rPr>
              <a:t>Adversary – runbook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sz="2400" dirty="0"/>
              <a:t>Battl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2400" dirty="0"/>
              <a:t>Denouemen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sz="2400" dirty="0"/>
              <a:t>Epilogue and question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3538" y="484541"/>
            <a:ext cx="8432800" cy="492443"/>
          </a:xfrm>
        </p:spPr>
        <p:txBody>
          <a:bodyPr/>
          <a:lstStyle/>
          <a:p>
            <a:r>
              <a:rPr lang="en-US" sz="4000" dirty="0"/>
              <a:t>Agenda</a:t>
            </a:r>
            <a:endParaRPr lang="en-US" sz="3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0B8D7EF-9845-44DF-BBD1-D75DCE06C3A4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US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30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My mental model of aler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pPr marL="0" indent="0">
              <a:buNone/>
            </a:pPr>
            <a:r>
              <a:rPr lang="en-US" sz="2000" dirty="0"/>
              <a:t>              Data			    Alert			  Runbook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        </a:t>
            </a:r>
            <a:r>
              <a:rPr lang="en-US" dirty="0"/>
              <a:t>Measurements</a:t>
            </a:r>
            <a:r>
              <a:rPr lang="en-US" sz="2000" dirty="0"/>
              <a:t>                     Thresholds                           Actions</a:t>
            </a:r>
          </a:p>
          <a:p>
            <a:pPr marL="0" indent="0">
              <a:buNone/>
            </a:pPr>
            <a:r>
              <a:rPr lang="en-US" sz="2000" dirty="0"/>
              <a:t>          &amp; context                           &amp; Targets                        or Proced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12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urns out, it’s not that complicated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3A69EA4-E445-42BD-8F29-DEFBDD50BAF1}"/>
              </a:ext>
            </a:extLst>
          </p:cNvPr>
          <p:cNvSpPr/>
          <p:nvPr/>
        </p:nvSpPr>
        <p:spPr bwMode="auto">
          <a:xfrm>
            <a:off x="852407" y="2526224"/>
            <a:ext cx="1642820" cy="1735810"/>
          </a:xfrm>
          <a:prstGeom prst="roundRect">
            <a:avLst/>
          </a:prstGeom>
          <a:noFill/>
          <a:ln w="285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8B2E1D5-FBD9-405A-A955-AD167B4E6206}"/>
              </a:ext>
            </a:extLst>
          </p:cNvPr>
          <p:cNvSpPr/>
          <p:nvPr/>
        </p:nvSpPr>
        <p:spPr bwMode="auto">
          <a:xfrm>
            <a:off x="3750590" y="2561095"/>
            <a:ext cx="1642820" cy="1735810"/>
          </a:xfrm>
          <a:prstGeom prst="roundRect">
            <a:avLst/>
          </a:prstGeom>
          <a:noFill/>
          <a:ln w="285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DA6E3FE-00C5-4231-94DD-5252D33BE3D3}"/>
              </a:ext>
            </a:extLst>
          </p:cNvPr>
          <p:cNvSpPr/>
          <p:nvPr/>
        </p:nvSpPr>
        <p:spPr bwMode="auto">
          <a:xfrm>
            <a:off x="6648773" y="2526224"/>
            <a:ext cx="1642820" cy="1735810"/>
          </a:xfrm>
          <a:prstGeom prst="roundRect">
            <a:avLst/>
          </a:prstGeom>
          <a:noFill/>
          <a:ln w="28575" cap="flat">
            <a:solidFill>
              <a:schemeClr val="tx1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A1C81DE-3ED2-4C5E-BED6-9AD589D3456D}"/>
              </a:ext>
            </a:extLst>
          </p:cNvPr>
          <p:cNvCxnSpPr>
            <a:cxnSpLocks/>
          </p:cNvCxnSpPr>
          <p:nvPr/>
        </p:nvCxnSpPr>
        <p:spPr>
          <a:xfrm>
            <a:off x="2510725" y="3394129"/>
            <a:ext cx="1255363" cy="3487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73CD253-F7B5-4B8A-8264-5C9D6272CECF}"/>
              </a:ext>
            </a:extLst>
          </p:cNvPr>
          <p:cNvCxnSpPr>
            <a:stCxn id="8" idx="3"/>
            <a:endCxn id="9" idx="1"/>
          </p:cNvCxnSpPr>
          <p:nvPr/>
        </p:nvCxnSpPr>
        <p:spPr>
          <a:xfrm flipV="1">
            <a:off x="5393410" y="3394129"/>
            <a:ext cx="1255363" cy="3487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93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runboo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The Forward Aperture Reverse Timing System is responsible for optimizing the size of the…</a:t>
            </a:r>
          </a:p>
          <a:p>
            <a:endParaRPr lang="en-US" dirty="0"/>
          </a:p>
          <a:p>
            <a:r>
              <a:rPr lang="en-US" dirty="0"/>
              <a:t>Things you can try:</a:t>
            </a:r>
          </a:p>
          <a:p>
            <a:pPr lvl="1"/>
            <a:r>
              <a:rPr lang="en-US" sz="1800" dirty="0"/>
              <a:t>Check the database to make sure the </a:t>
            </a:r>
            <a:r>
              <a:rPr lang="en-US" sz="1800" dirty="0" err="1"/>
              <a:t>foos</a:t>
            </a:r>
            <a:r>
              <a:rPr lang="en-US" sz="1800" dirty="0"/>
              <a:t> are all barred.</a:t>
            </a:r>
          </a:p>
          <a:p>
            <a:pPr lvl="1"/>
            <a:r>
              <a:rPr lang="en-US" sz="1800" dirty="0"/>
              <a:t>Log onto prdflxcapctr001 and restart the </a:t>
            </a:r>
            <a:r>
              <a:rPr lang="en-US" sz="1800" dirty="0" err="1"/>
              <a:t>mr_fusion</a:t>
            </a:r>
            <a:r>
              <a:rPr lang="en-US" sz="1800" dirty="0"/>
              <a:t> service.</a:t>
            </a:r>
          </a:p>
          <a:p>
            <a:pPr lvl="1"/>
            <a:r>
              <a:rPr lang="en-US" sz="1800" dirty="0"/>
              <a:t>If all the badness is coming from a single IP, geolocate it and call in a tactical air strike.</a:t>
            </a:r>
          </a:p>
          <a:p>
            <a:pPr marL="233362" lvl="1" indent="0">
              <a:buNone/>
            </a:pPr>
            <a:endParaRPr lang="en-US" sz="1800" dirty="0"/>
          </a:p>
          <a:p>
            <a:r>
              <a:rPr lang="en-US" dirty="0"/>
              <a:t>If that doesn’t work, look for exceptions in the logs </a:t>
            </a:r>
            <a:r>
              <a:rPr lang="en-US" u="sng" dirty="0">
                <a:solidFill>
                  <a:schemeClr val="bg2">
                    <a:lumMod val="50000"/>
                  </a:schemeClr>
                </a:solidFill>
              </a:rPr>
              <a:t>her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13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Don’t panic, but it appears you are experiencing a problem.</a:t>
            </a:r>
          </a:p>
        </p:txBody>
      </p:sp>
    </p:spTree>
    <p:extLst>
      <p:ext uri="{BB962C8B-B14F-4D97-AF65-F5344CB8AC3E}">
        <p14:creationId xmlns:p14="http://schemas.microsoft.com/office/powerpoint/2010/main" val="226495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 dirty="0"/>
              <a:t>Ques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5"/>
          </p:nvPr>
        </p:nvSpPr>
        <p:spPr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sz="2400" dirty="0"/>
              <a:t>Adversary – runbook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6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US" sz="2400" b="1" dirty="0">
                <a:solidFill>
                  <a:schemeClr val="bg1"/>
                </a:solidFill>
              </a:rPr>
              <a:t>Battl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2400" dirty="0"/>
              <a:t>Denouemen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sz="2400" dirty="0"/>
              <a:t>Epilogue and question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3538" y="484541"/>
            <a:ext cx="8432800" cy="492443"/>
          </a:xfrm>
        </p:spPr>
        <p:txBody>
          <a:bodyPr/>
          <a:lstStyle/>
          <a:p>
            <a:r>
              <a:rPr lang="en-US" sz="4000" dirty="0"/>
              <a:t>Agenda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0B8D7EF-9845-44DF-BBD1-D75DCE06C3A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US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061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reate a system to orchestrate these a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endParaRPr lang="en-US" sz="3600" dirty="0"/>
          </a:p>
          <a:p>
            <a:r>
              <a:rPr lang="en-US" sz="3600" dirty="0"/>
              <a:t> Most of the actions were either</a:t>
            </a:r>
          </a:p>
          <a:p>
            <a:endParaRPr lang="en-US" sz="3600" dirty="0"/>
          </a:p>
          <a:p>
            <a:pPr lvl="1"/>
            <a:r>
              <a:rPr lang="en-US" sz="2800" dirty="0"/>
              <a:t>Get more information</a:t>
            </a:r>
          </a:p>
          <a:p>
            <a:pPr lvl="1"/>
            <a:endParaRPr lang="en-US" sz="2800" dirty="0"/>
          </a:p>
          <a:p>
            <a:pPr lvl="1"/>
            <a:r>
              <a:rPr lang="en-US" sz="2800" dirty="0"/>
              <a:t>Interact with a system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1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DevOps!</a:t>
            </a:r>
          </a:p>
        </p:txBody>
      </p:sp>
    </p:spTree>
    <p:extLst>
      <p:ext uri="{BB962C8B-B14F-4D97-AF65-F5344CB8AC3E}">
        <p14:creationId xmlns:p14="http://schemas.microsoft.com/office/powerpoint/2010/main" val="29148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reate a system to orchestrate these a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endParaRPr lang="en-US" sz="3600" dirty="0"/>
          </a:p>
          <a:p>
            <a:r>
              <a:rPr lang="en-US" sz="3600" dirty="0"/>
              <a:t> Kicked off a project</a:t>
            </a:r>
          </a:p>
          <a:p>
            <a:r>
              <a:rPr lang="en-US" sz="3600" dirty="0"/>
              <a:t> Hired an intern</a:t>
            </a:r>
          </a:p>
          <a:p>
            <a:r>
              <a:rPr lang="en-US" sz="3600" dirty="0"/>
              <a:t> Started a thorough review of our alerts, runbooks, and alert handling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16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DevOps!</a:t>
            </a:r>
          </a:p>
        </p:txBody>
      </p:sp>
    </p:spTree>
    <p:extLst>
      <p:ext uri="{BB962C8B-B14F-4D97-AF65-F5344CB8AC3E}">
        <p14:creationId xmlns:p14="http://schemas.microsoft.com/office/powerpoint/2010/main" val="2916878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aud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endParaRPr lang="en-US" sz="2000" dirty="0"/>
          </a:p>
          <a:p>
            <a:r>
              <a:rPr lang="en-US" sz="2800" dirty="0"/>
              <a:t> Inaccurate runbooks</a:t>
            </a:r>
          </a:p>
          <a:p>
            <a:r>
              <a:rPr lang="en-US" sz="2800" dirty="0"/>
              <a:t> Incomplete steps</a:t>
            </a:r>
          </a:p>
          <a:p>
            <a:r>
              <a:rPr lang="en-US" sz="2800" dirty="0"/>
              <a:t> Inconsistent use</a:t>
            </a:r>
          </a:p>
          <a:p>
            <a:r>
              <a:rPr lang="en-US" sz="2800" dirty="0"/>
              <a:t> Bad alerts</a:t>
            </a:r>
          </a:p>
          <a:p>
            <a:r>
              <a:rPr lang="en-US" sz="2800" dirty="0"/>
              <a:t> Ignored alerts</a:t>
            </a:r>
            <a:endParaRPr lang="en-US" sz="2400" dirty="0"/>
          </a:p>
          <a:p>
            <a:pPr marL="233362" lvl="1" indent="0">
              <a:buNone/>
            </a:pP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17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Here there be dragons</a:t>
            </a:r>
          </a:p>
        </p:txBody>
      </p:sp>
    </p:spTree>
    <p:extLst>
      <p:ext uri="{BB962C8B-B14F-4D97-AF65-F5344CB8AC3E}">
        <p14:creationId xmlns:p14="http://schemas.microsoft.com/office/powerpoint/2010/main" val="291046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Defea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18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No engineers were harmed in the making of this project</a:t>
            </a:r>
          </a:p>
        </p:txBody>
      </p:sp>
    </p:spTree>
    <p:extLst>
      <p:ext uri="{BB962C8B-B14F-4D97-AF65-F5344CB8AC3E}">
        <p14:creationId xmlns:p14="http://schemas.microsoft.com/office/powerpoint/2010/main" val="242378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24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en-US" sz="2400" b="1" dirty="0">
                <a:solidFill>
                  <a:schemeClr val="bg1"/>
                </a:solidFill>
              </a:rPr>
              <a:t>Ques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5"/>
          </p:nvPr>
        </p:nvSpPr>
        <p:spPr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sz="2400" dirty="0"/>
              <a:t>Adversary – runbook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sz="2400" dirty="0"/>
              <a:t>Battl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2400" dirty="0"/>
              <a:t>Denouemen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sz="2400" dirty="0"/>
              <a:t>Epilogue and question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3538" y="484541"/>
            <a:ext cx="8432800" cy="492443"/>
          </a:xfrm>
        </p:spPr>
        <p:txBody>
          <a:bodyPr/>
          <a:lstStyle/>
          <a:p>
            <a:r>
              <a:rPr lang="en-US" sz="4000" dirty="0"/>
              <a:t>Agend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0B8D7EF-9845-44DF-BBD1-D75DCE06C3A4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70866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 dirty="0"/>
              <a:t>Ques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5"/>
          </p:nvPr>
        </p:nvSpPr>
        <p:spPr>
          <a:xfrm>
            <a:off x="366712" y="1933675"/>
            <a:ext cx="7434001" cy="4572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sz="2400" dirty="0"/>
              <a:t>Adversary – runbook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sz="2400" dirty="0"/>
              <a:t>Battle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7"/>
          </p:nvPr>
        </p:nvSpPr>
        <p:spPr>
          <a:xfrm>
            <a:off x="366712" y="3220644"/>
            <a:ext cx="7434001" cy="457200"/>
          </a:xfrm>
          <a:solidFill>
            <a:schemeClr val="accent1"/>
          </a:solidFill>
        </p:spPr>
        <p:txBody>
          <a:bodyPr/>
          <a:lstStyle/>
          <a:p>
            <a:pPr>
              <a:buNone/>
            </a:pPr>
            <a:r>
              <a:rPr lang="en-US" sz="2400" b="1" dirty="0">
                <a:solidFill>
                  <a:schemeClr val="bg1"/>
                </a:solidFill>
              </a:rPr>
              <a:t>Denouemen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sz="2400" dirty="0"/>
              <a:t>Epilogue and question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3538" y="484541"/>
            <a:ext cx="8432800" cy="492443"/>
          </a:xfrm>
        </p:spPr>
        <p:txBody>
          <a:bodyPr/>
          <a:lstStyle/>
          <a:p>
            <a:r>
              <a:rPr lang="en-US" sz="4000" dirty="0"/>
              <a:t>Agenda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0B8D7EF-9845-44DF-BBD1-D75DCE06C3A4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US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40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What went wro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endParaRPr lang="en-US" dirty="0"/>
          </a:p>
          <a:p>
            <a:r>
              <a:rPr lang="en-US" dirty="0"/>
              <a:t> Keeping accurate runbooks up-to-date is har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20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All is made clear</a:t>
            </a:r>
          </a:p>
        </p:txBody>
      </p:sp>
    </p:spTree>
    <p:extLst>
      <p:ext uri="{BB962C8B-B14F-4D97-AF65-F5344CB8AC3E}">
        <p14:creationId xmlns:p14="http://schemas.microsoft.com/office/powerpoint/2010/main" val="91392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runboo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The Forward Aperture Reverse Timing System is responsible for optimizing the size of the…</a:t>
            </a:r>
          </a:p>
          <a:p>
            <a:endParaRPr lang="en-US" dirty="0"/>
          </a:p>
          <a:p>
            <a:r>
              <a:rPr lang="en-US" dirty="0"/>
              <a:t>Things you can try:</a:t>
            </a:r>
          </a:p>
          <a:p>
            <a:pPr lvl="1"/>
            <a:r>
              <a:rPr lang="en-US" sz="1800" dirty="0"/>
              <a:t>Check the database to make sure the </a:t>
            </a:r>
            <a:r>
              <a:rPr lang="en-US" sz="1800" dirty="0" err="1"/>
              <a:t>foos</a:t>
            </a:r>
            <a:r>
              <a:rPr lang="en-US" sz="1800" dirty="0"/>
              <a:t> are all barred.</a:t>
            </a:r>
          </a:p>
          <a:p>
            <a:pPr lvl="1"/>
            <a:r>
              <a:rPr lang="en-US" sz="1800" dirty="0"/>
              <a:t>Log onto prdflxcapctr001 and restart the </a:t>
            </a:r>
            <a:r>
              <a:rPr lang="en-US" sz="1800" dirty="0" err="1"/>
              <a:t>mr_fusion</a:t>
            </a:r>
            <a:r>
              <a:rPr lang="en-US" sz="1800" dirty="0"/>
              <a:t> service.</a:t>
            </a:r>
          </a:p>
          <a:p>
            <a:pPr lvl="1"/>
            <a:r>
              <a:rPr lang="en-US" sz="1800" dirty="0"/>
              <a:t>If all the badness is coming from a single IP, geolocate it and call in a tactical air strike.</a:t>
            </a:r>
          </a:p>
          <a:p>
            <a:pPr marL="233362" lvl="1" indent="0">
              <a:buNone/>
            </a:pPr>
            <a:endParaRPr lang="en-US" sz="1800" dirty="0"/>
          </a:p>
          <a:p>
            <a:r>
              <a:rPr lang="en-US" dirty="0"/>
              <a:t>If that doesn’t work, look for exceptions in the logs </a:t>
            </a:r>
            <a:r>
              <a:rPr lang="en-US" u="sng" dirty="0">
                <a:solidFill>
                  <a:schemeClr val="bg2">
                    <a:lumMod val="50000"/>
                  </a:schemeClr>
                </a:solidFill>
              </a:rPr>
              <a:t>her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Don’t panic, but it appears you are experiencing a problem.</a:t>
            </a:r>
          </a:p>
        </p:txBody>
      </p:sp>
    </p:spTree>
    <p:extLst>
      <p:ext uri="{BB962C8B-B14F-4D97-AF65-F5344CB8AC3E}">
        <p14:creationId xmlns:p14="http://schemas.microsoft.com/office/powerpoint/2010/main" val="10410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Bad ite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>
              <a:solidFill>
                <a:srgbClr val="00B050"/>
              </a:solidFill>
            </a:endParaRPr>
          </a:p>
          <a:p>
            <a:r>
              <a:rPr lang="en-US" dirty="0">
                <a:solidFill>
                  <a:srgbClr val="00B050"/>
                </a:solidFill>
              </a:rPr>
              <a:t>(last updated 3 years ago by [Err: user not found])</a:t>
            </a:r>
          </a:p>
          <a:p>
            <a:r>
              <a:rPr lang="en-US" dirty="0"/>
              <a:t>The Forward Aperture Reverse Timing System is responsible for optimizing the size of the…</a:t>
            </a:r>
          </a:p>
          <a:p>
            <a:endParaRPr lang="en-US" dirty="0"/>
          </a:p>
          <a:p>
            <a:r>
              <a:rPr lang="en-US" dirty="0"/>
              <a:t>Things you can try:</a:t>
            </a:r>
          </a:p>
          <a:p>
            <a:pPr lvl="1"/>
            <a:r>
              <a:rPr lang="en-US" sz="1800" dirty="0"/>
              <a:t>Check the database to make sure the </a:t>
            </a:r>
            <a:r>
              <a:rPr lang="en-US" sz="1800" dirty="0" err="1"/>
              <a:t>foos</a:t>
            </a:r>
            <a:r>
              <a:rPr lang="en-US" sz="1800" dirty="0"/>
              <a:t> are all barred.</a:t>
            </a:r>
          </a:p>
          <a:p>
            <a:pPr lvl="1"/>
            <a:r>
              <a:rPr lang="en-US" sz="1800" dirty="0"/>
              <a:t>Log onto prdflxcapctr001 and restart the </a:t>
            </a:r>
            <a:r>
              <a:rPr lang="en-US" sz="1800" dirty="0" err="1"/>
              <a:t>mr_fusion</a:t>
            </a:r>
            <a:r>
              <a:rPr lang="en-US" sz="1800" dirty="0"/>
              <a:t> service.</a:t>
            </a:r>
          </a:p>
          <a:p>
            <a:pPr lvl="1"/>
            <a:r>
              <a:rPr lang="en-US" sz="1800" dirty="0"/>
              <a:t>If all the badness is coming from a single IP, geolocate it and call in a tactical air strike.</a:t>
            </a:r>
          </a:p>
          <a:p>
            <a:pPr marL="233362" lvl="1" indent="0">
              <a:buNone/>
            </a:pPr>
            <a:endParaRPr lang="en-US" sz="1800" dirty="0"/>
          </a:p>
          <a:p>
            <a:r>
              <a:rPr lang="en-US" dirty="0"/>
              <a:t>If that doesn’t work, look for exceptions in the logs </a:t>
            </a:r>
            <a:r>
              <a:rPr lang="en-US" u="sng" dirty="0">
                <a:solidFill>
                  <a:schemeClr val="bg2">
                    <a:lumMod val="50000"/>
                  </a:schemeClr>
                </a:solidFill>
              </a:rPr>
              <a:t>here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Don’t panic, but it appears you are experiencing a problem.</a:t>
            </a:r>
          </a:p>
        </p:txBody>
      </p:sp>
    </p:spTree>
    <p:extLst>
      <p:ext uri="{BB962C8B-B14F-4D97-AF65-F5344CB8AC3E}">
        <p14:creationId xmlns:p14="http://schemas.microsoft.com/office/powerpoint/2010/main" val="1723234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“Good” ite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The Forward Aperture Reverse Timing System is responsible for optimizing the size of the…</a:t>
            </a:r>
          </a:p>
          <a:p>
            <a:pPr lvl="1"/>
            <a:r>
              <a:rPr lang="en-US" dirty="0">
                <a:solidFill>
                  <a:schemeClr val="accent3"/>
                </a:solidFill>
              </a:rPr>
              <a:t>Architectural diagram </a:t>
            </a:r>
            <a:r>
              <a:rPr lang="en-US" u="sng" dirty="0">
                <a:solidFill>
                  <a:schemeClr val="bg2">
                    <a:lumMod val="50000"/>
                  </a:schemeClr>
                </a:solidFill>
              </a:rPr>
              <a:t>her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Things you can try:</a:t>
            </a:r>
          </a:p>
          <a:p>
            <a:pPr lvl="1"/>
            <a:r>
              <a:rPr lang="en-US" sz="1800" dirty="0"/>
              <a:t>Check the database </a:t>
            </a:r>
            <a:r>
              <a:rPr lang="en-US" sz="1800" dirty="0">
                <a:solidFill>
                  <a:schemeClr val="accent3"/>
                </a:solidFill>
              </a:rPr>
              <a:t>(db183)</a:t>
            </a:r>
            <a:r>
              <a:rPr lang="en-US" sz="1800" dirty="0"/>
              <a:t> to make sure the </a:t>
            </a:r>
            <a:r>
              <a:rPr lang="en-US" sz="1800" dirty="0" err="1"/>
              <a:t>foos</a:t>
            </a:r>
            <a:r>
              <a:rPr lang="en-US" sz="1800" dirty="0"/>
              <a:t> are all barred.</a:t>
            </a:r>
          </a:p>
          <a:p>
            <a:pPr lvl="2"/>
            <a:r>
              <a:rPr lang="en-US" sz="1800" dirty="0">
                <a:solidFill>
                  <a:schemeClr val="accent3"/>
                </a:solidFill>
              </a:rPr>
              <a:t>Select * from </a:t>
            </a:r>
            <a:r>
              <a:rPr lang="en-US" sz="1800" dirty="0" err="1">
                <a:solidFill>
                  <a:schemeClr val="accent3"/>
                </a:solidFill>
              </a:rPr>
              <a:t>kng.foo</a:t>
            </a:r>
            <a:r>
              <a:rPr lang="en-US" sz="1800" dirty="0">
                <a:solidFill>
                  <a:schemeClr val="accent3"/>
                </a:solidFill>
              </a:rPr>
              <a:t> where bar = ‘none’</a:t>
            </a:r>
          </a:p>
          <a:p>
            <a:pPr lvl="1"/>
            <a:r>
              <a:rPr lang="en-US" sz="1800" dirty="0"/>
              <a:t>Log onto prdflxcapctr00</a:t>
            </a:r>
            <a:r>
              <a:rPr lang="en-US" sz="1800" dirty="0">
                <a:solidFill>
                  <a:srgbClr val="FF0000"/>
                </a:solidFill>
              </a:rPr>
              <a:t>1</a:t>
            </a:r>
            <a:r>
              <a:rPr lang="en-US" sz="1800" dirty="0">
                <a:solidFill>
                  <a:schemeClr val="accent3"/>
                </a:solidFill>
              </a:rPr>
              <a:t>3</a:t>
            </a:r>
            <a:r>
              <a:rPr lang="en-US" sz="1800" dirty="0"/>
              <a:t> and restart the </a:t>
            </a:r>
            <a:r>
              <a:rPr lang="en-US" sz="1800" dirty="0" err="1"/>
              <a:t>mr_fusion</a:t>
            </a:r>
            <a:r>
              <a:rPr lang="en-US" sz="1800" dirty="0"/>
              <a:t> service.</a:t>
            </a:r>
          </a:p>
          <a:p>
            <a:pPr lvl="1"/>
            <a:r>
              <a:rPr lang="en-US" sz="1800" dirty="0"/>
              <a:t>If all the badness is coming from a single IP, geolocate it and call in a </a:t>
            </a:r>
            <a:r>
              <a:rPr lang="en-US" sz="1800" dirty="0">
                <a:solidFill>
                  <a:srgbClr val="00B050"/>
                </a:solidFill>
              </a:rPr>
              <a:t>wet work team</a:t>
            </a:r>
            <a:r>
              <a:rPr lang="en-US" sz="1800" dirty="0"/>
              <a:t>.</a:t>
            </a:r>
          </a:p>
          <a:p>
            <a:pPr marL="233362" lvl="1" indent="0">
              <a:buNone/>
            </a:pPr>
            <a:endParaRPr lang="en-US" sz="1800" dirty="0"/>
          </a:p>
          <a:p>
            <a:r>
              <a:rPr lang="en-US" dirty="0"/>
              <a:t>If that doesn’t work, look for exceptions in the logs </a:t>
            </a:r>
            <a:r>
              <a:rPr lang="en-US" u="sng" dirty="0">
                <a:solidFill>
                  <a:schemeClr val="bg2">
                    <a:lumMod val="50000"/>
                  </a:schemeClr>
                </a:solidFill>
              </a:rPr>
              <a:t>here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sz="800" dirty="0"/>
              <a:t>* If no </a:t>
            </a:r>
            <a:r>
              <a:rPr lang="en-US" sz="800" dirty="0" err="1"/>
              <a:t>foos</a:t>
            </a:r>
            <a:r>
              <a:rPr lang="en-US" sz="800" dirty="0"/>
              <a:t> are barred for 61 minutes, the fiddleheads rise up and attempt to fubar the windows and eat all the app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strike="sngStrike" dirty="0"/>
          </a:p>
          <a:p>
            <a:r>
              <a:rPr lang="en-US" sz="2000" strike="sngStrike" dirty="0"/>
              <a:t>Don’t</a:t>
            </a:r>
            <a:r>
              <a:rPr lang="en-US" sz="2000" dirty="0"/>
              <a:t> Sometimes* panic, but it appears you are experiencing a problem.</a:t>
            </a:r>
          </a:p>
        </p:txBody>
      </p:sp>
    </p:spTree>
    <p:extLst>
      <p:ext uri="{BB962C8B-B14F-4D97-AF65-F5344CB8AC3E}">
        <p14:creationId xmlns:p14="http://schemas.microsoft.com/office/powerpoint/2010/main" val="129555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What went wro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endParaRPr lang="en-US" dirty="0"/>
          </a:p>
          <a:p>
            <a:r>
              <a:rPr lang="en-US" dirty="0"/>
              <a:t> Keeping accurate runbooks up-to-date is hard</a:t>
            </a:r>
          </a:p>
          <a:p>
            <a:endParaRPr lang="en-US" dirty="0"/>
          </a:p>
          <a:p>
            <a:r>
              <a:rPr lang="en-US" dirty="0"/>
              <a:t> Alert fatigu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All is made clear</a:t>
            </a:r>
          </a:p>
        </p:txBody>
      </p:sp>
    </p:spTree>
    <p:extLst>
      <p:ext uri="{BB962C8B-B14F-4D97-AF65-F5344CB8AC3E}">
        <p14:creationId xmlns:p14="http://schemas.microsoft.com/office/powerpoint/2010/main" val="14281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What went wro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endParaRPr lang="en-US" dirty="0"/>
          </a:p>
          <a:p>
            <a:r>
              <a:rPr lang="en-US" dirty="0"/>
              <a:t> Keeping accurate runbooks up-to-date is hard</a:t>
            </a:r>
          </a:p>
          <a:p>
            <a:endParaRPr lang="en-US" dirty="0"/>
          </a:p>
          <a:p>
            <a:r>
              <a:rPr lang="en-US" dirty="0"/>
              <a:t> Alert fatigue</a:t>
            </a:r>
          </a:p>
          <a:p>
            <a:endParaRPr lang="en-US" dirty="0"/>
          </a:p>
          <a:p>
            <a:r>
              <a:rPr lang="en-US" dirty="0"/>
              <a:t> Asking computers to do the things we ask humans to do based on what a computer does is bad praxi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All is made clear</a:t>
            </a:r>
          </a:p>
        </p:txBody>
      </p:sp>
    </p:spTree>
    <p:extLst>
      <p:ext uri="{BB962C8B-B14F-4D97-AF65-F5344CB8AC3E}">
        <p14:creationId xmlns:p14="http://schemas.microsoft.com/office/powerpoint/2010/main" val="12398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400" dirty="0"/>
              <a:t>Quest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5"/>
          </p:nvPr>
        </p:nvSpPr>
        <p:spPr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sz="2400" dirty="0"/>
              <a:t>Adversary – runbook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sz="2400" dirty="0"/>
              <a:t>Battle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2400" dirty="0"/>
              <a:t>Denouement</a:t>
            </a: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8"/>
          </p:nvPr>
        </p:nvSpPr>
        <p:spPr>
          <a:xfrm>
            <a:off x="366712" y="3864244"/>
            <a:ext cx="7434001" cy="457200"/>
          </a:xfrm>
          <a:solidFill>
            <a:schemeClr val="accent1"/>
          </a:solidFill>
        </p:spPr>
        <p:txBody>
          <a:bodyPr/>
          <a:lstStyle/>
          <a:p>
            <a:r>
              <a:rPr lang="en-US" sz="2400" b="1" dirty="0">
                <a:solidFill>
                  <a:schemeClr val="bg1"/>
                </a:solidFill>
              </a:rPr>
              <a:t>Epilogue and question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63538" y="484541"/>
            <a:ext cx="8432800" cy="492443"/>
          </a:xfrm>
        </p:spPr>
        <p:txBody>
          <a:bodyPr/>
          <a:lstStyle/>
          <a:p>
            <a:r>
              <a:rPr lang="en-US" sz="4000" dirty="0"/>
              <a:t>Agenda</a:t>
            </a:r>
            <a:endParaRPr lang="en-US" sz="3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0B8D7EF-9845-44DF-BBD1-D75DCE06C3A4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/>
              <a:t>1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US"/>
              <a:t>2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/>
            <a:r>
              <a:rPr lang="en-US"/>
              <a:t>3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ctr"/>
            <a:r>
              <a:rPr lang="en-US"/>
              <a:t>4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ctr"/>
            <a:r>
              <a:rPr lang="en-US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5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omputers vs Hum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27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he right tool for the job</a:t>
            </a:r>
          </a:p>
        </p:txBody>
      </p:sp>
    </p:spTree>
    <p:extLst>
      <p:ext uri="{BB962C8B-B14F-4D97-AF65-F5344CB8AC3E}">
        <p14:creationId xmlns:p14="http://schemas.microsoft.com/office/powerpoint/2010/main" val="341986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omputers vs Hum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1800" dirty="0"/>
              <a:t>Computers</a:t>
            </a:r>
          </a:p>
          <a:p>
            <a:pPr lvl="1"/>
            <a:r>
              <a:rPr lang="en-US" dirty="0"/>
              <a:t>Automatically provide more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28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he right tool for the job</a:t>
            </a:r>
          </a:p>
        </p:txBody>
      </p:sp>
    </p:spTree>
    <p:extLst>
      <p:ext uri="{BB962C8B-B14F-4D97-AF65-F5344CB8AC3E}">
        <p14:creationId xmlns:p14="http://schemas.microsoft.com/office/powerpoint/2010/main" val="15497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who, what, why, and h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2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D8541-B882-4AF4-B7ED-3611CCBB4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The call to … adventure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FD1041-6113-4F05-BC0A-C3A2D8F92C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sz="2000" dirty="0"/>
              <a:t>There I was: a relatable, family-friendly, and generic engineer, toiling away in the IT mines.</a:t>
            </a:r>
          </a:p>
        </p:txBody>
      </p:sp>
    </p:spTree>
    <p:extLst>
      <p:ext uri="{BB962C8B-B14F-4D97-AF65-F5344CB8AC3E}">
        <p14:creationId xmlns:p14="http://schemas.microsoft.com/office/powerpoint/2010/main" val="364895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omputers vs Hum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1800" dirty="0"/>
              <a:t>Computers</a:t>
            </a:r>
          </a:p>
          <a:p>
            <a:pPr lvl="1"/>
            <a:r>
              <a:rPr lang="en-US" dirty="0"/>
              <a:t>Automatically provide more information</a:t>
            </a:r>
          </a:p>
          <a:p>
            <a:pPr lvl="1"/>
            <a:r>
              <a:rPr lang="en-US" dirty="0"/>
              <a:t>Infrastructure changes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29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he right tool for the job</a:t>
            </a:r>
          </a:p>
        </p:txBody>
      </p:sp>
    </p:spTree>
    <p:extLst>
      <p:ext uri="{BB962C8B-B14F-4D97-AF65-F5344CB8AC3E}">
        <p14:creationId xmlns:p14="http://schemas.microsoft.com/office/powerpoint/2010/main" val="231986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omputers vs Hum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1800" dirty="0"/>
              <a:t>Computers</a:t>
            </a:r>
          </a:p>
          <a:p>
            <a:pPr lvl="1"/>
            <a:r>
              <a:rPr lang="en-US" dirty="0"/>
              <a:t>Automatically provide more information</a:t>
            </a:r>
          </a:p>
          <a:p>
            <a:pPr lvl="1"/>
            <a:r>
              <a:rPr lang="en-US" dirty="0"/>
              <a:t>Infrastructure changes</a:t>
            </a:r>
          </a:p>
          <a:p>
            <a:pPr lvl="1"/>
            <a:r>
              <a:rPr lang="en-US" dirty="0"/>
              <a:t>Make trivial decisions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30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he right tool for the job</a:t>
            </a:r>
          </a:p>
        </p:txBody>
      </p:sp>
    </p:spTree>
    <p:extLst>
      <p:ext uri="{BB962C8B-B14F-4D97-AF65-F5344CB8AC3E}">
        <p14:creationId xmlns:p14="http://schemas.microsoft.com/office/powerpoint/2010/main" val="99495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omputers vs Hum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1800" dirty="0"/>
              <a:t>Computers</a:t>
            </a:r>
          </a:p>
          <a:p>
            <a:pPr lvl="1"/>
            <a:r>
              <a:rPr lang="en-US" dirty="0"/>
              <a:t>Automatically provide more information</a:t>
            </a:r>
          </a:p>
          <a:p>
            <a:pPr lvl="1"/>
            <a:r>
              <a:rPr lang="en-US" dirty="0"/>
              <a:t>Infrastructure changes</a:t>
            </a:r>
          </a:p>
          <a:p>
            <a:pPr lvl="1"/>
            <a:r>
              <a:rPr lang="en-US" dirty="0"/>
              <a:t>Make trivial decisions</a:t>
            </a:r>
          </a:p>
          <a:p>
            <a:pPr marL="233362" lvl="1" indent="0">
              <a:buNone/>
            </a:pPr>
            <a:endParaRPr lang="en-US" dirty="0"/>
          </a:p>
          <a:p>
            <a:r>
              <a:rPr lang="en-US" dirty="0"/>
              <a:t>Humans</a:t>
            </a:r>
          </a:p>
          <a:p>
            <a:pPr lvl="1"/>
            <a:r>
              <a:rPr lang="en-US" dirty="0"/>
              <a:t>Make complex decisions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31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he right tool for the job</a:t>
            </a:r>
          </a:p>
        </p:txBody>
      </p:sp>
    </p:spTree>
    <p:extLst>
      <p:ext uri="{BB962C8B-B14F-4D97-AF65-F5344CB8AC3E}">
        <p14:creationId xmlns:p14="http://schemas.microsoft.com/office/powerpoint/2010/main" val="14381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omputers vs Hum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1800" dirty="0"/>
              <a:t>Computers</a:t>
            </a:r>
          </a:p>
          <a:p>
            <a:pPr lvl="1"/>
            <a:r>
              <a:rPr lang="en-US" dirty="0"/>
              <a:t>Automatically provide more information</a:t>
            </a:r>
          </a:p>
          <a:p>
            <a:pPr lvl="1"/>
            <a:r>
              <a:rPr lang="en-US" dirty="0"/>
              <a:t>Infrastructure changes</a:t>
            </a:r>
          </a:p>
          <a:p>
            <a:pPr lvl="1"/>
            <a:r>
              <a:rPr lang="en-US" dirty="0"/>
              <a:t>Make trivial decisions</a:t>
            </a:r>
          </a:p>
          <a:p>
            <a:pPr marL="233362" lvl="1" indent="0">
              <a:buNone/>
            </a:pPr>
            <a:endParaRPr lang="en-US" dirty="0"/>
          </a:p>
          <a:p>
            <a:r>
              <a:rPr lang="en-US" dirty="0"/>
              <a:t>Humans</a:t>
            </a:r>
          </a:p>
          <a:p>
            <a:pPr lvl="1"/>
            <a:r>
              <a:rPr lang="en-US" dirty="0"/>
              <a:t>Make complex decisions</a:t>
            </a:r>
          </a:p>
          <a:p>
            <a:pPr lvl="1"/>
            <a:r>
              <a:rPr lang="en-US" dirty="0"/>
              <a:t>Pattern match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32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he right tool for the job</a:t>
            </a:r>
          </a:p>
        </p:txBody>
      </p:sp>
    </p:spTree>
    <p:extLst>
      <p:ext uri="{BB962C8B-B14F-4D97-AF65-F5344CB8AC3E}">
        <p14:creationId xmlns:p14="http://schemas.microsoft.com/office/powerpoint/2010/main" val="15208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Computers vs Hum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1800" dirty="0"/>
              <a:t>Computers</a:t>
            </a:r>
          </a:p>
          <a:p>
            <a:pPr lvl="1"/>
            <a:r>
              <a:rPr lang="en-US" dirty="0"/>
              <a:t>Automatically provide more information</a:t>
            </a:r>
          </a:p>
          <a:p>
            <a:pPr lvl="1"/>
            <a:r>
              <a:rPr lang="en-US" dirty="0"/>
              <a:t>Infrastructure changes</a:t>
            </a:r>
          </a:p>
          <a:p>
            <a:pPr lvl="1"/>
            <a:r>
              <a:rPr lang="en-US" dirty="0"/>
              <a:t>Make trivial decisions</a:t>
            </a:r>
          </a:p>
          <a:p>
            <a:pPr marL="233362" lvl="1" indent="0">
              <a:buNone/>
            </a:pPr>
            <a:endParaRPr lang="en-US" dirty="0"/>
          </a:p>
          <a:p>
            <a:r>
              <a:rPr lang="en-US" dirty="0"/>
              <a:t>Humans</a:t>
            </a:r>
          </a:p>
          <a:p>
            <a:pPr lvl="1"/>
            <a:r>
              <a:rPr lang="en-US" dirty="0"/>
              <a:t>Make complex decisions</a:t>
            </a:r>
          </a:p>
          <a:p>
            <a:pPr lvl="1"/>
            <a:r>
              <a:rPr lang="en-US" dirty="0"/>
              <a:t>Pattern matching</a:t>
            </a:r>
          </a:p>
          <a:p>
            <a:pPr lvl="1"/>
            <a:r>
              <a:rPr lang="en-US" dirty="0"/>
              <a:t>Correlation and deduction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33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69441"/>
          </a:xfrm>
        </p:spPr>
        <p:txBody>
          <a:bodyPr/>
          <a:lstStyle/>
          <a:p>
            <a:endParaRPr lang="en-US" sz="2000" dirty="0"/>
          </a:p>
          <a:p>
            <a:r>
              <a:rPr lang="en-US" sz="2000" dirty="0"/>
              <a:t>The right tool for the job</a:t>
            </a:r>
          </a:p>
        </p:txBody>
      </p:sp>
    </p:spTree>
    <p:extLst>
      <p:ext uri="{BB962C8B-B14F-4D97-AF65-F5344CB8AC3E}">
        <p14:creationId xmlns:p14="http://schemas.microsoft.com/office/powerpoint/2010/main" val="411801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akeaway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000" dirty="0"/>
          </a:p>
          <a:p>
            <a:r>
              <a:rPr lang="en-US" sz="2000" dirty="0"/>
              <a:t>Do not use alerts to tell a human to do something a computer can do better</a:t>
            </a:r>
          </a:p>
          <a:p>
            <a:pPr lvl="1"/>
            <a:r>
              <a:rPr lang="en-US" dirty="0"/>
              <a:t>Move these triggers and responses as far left as possible</a:t>
            </a:r>
          </a:p>
          <a:p>
            <a:pPr lvl="1"/>
            <a:endParaRPr lang="en-US" dirty="0"/>
          </a:p>
          <a:p>
            <a:r>
              <a:rPr lang="en-US" sz="2000" dirty="0"/>
              <a:t>Use alerts to catch</a:t>
            </a:r>
          </a:p>
          <a:p>
            <a:pPr lvl="1"/>
            <a:r>
              <a:rPr lang="en-US" sz="1800" dirty="0"/>
              <a:t>Novel failures</a:t>
            </a:r>
          </a:p>
          <a:p>
            <a:pPr lvl="1"/>
            <a:r>
              <a:rPr lang="en-US" sz="1800" dirty="0"/>
              <a:t>SLO breaches</a:t>
            </a:r>
          </a:p>
          <a:p>
            <a:pPr lvl="1"/>
            <a:endParaRPr lang="en-US" dirty="0"/>
          </a:p>
          <a:p>
            <a:r>
              <a:rPr lang="en-US" dirty="0"/>
              <a:t>Humans should spend our time</a:t>
            </a:r>
          </a:p>
          <a:p>
            <a:pPr lvl="1"/>
            <a:r>
              <a:rPr lang="en-US" dirty="0"/>
              <a:t>Correlating events</a:t>
            </a:r>
          </a:p>
          <a:p>
            <a:pPr lvl="1"/>
            <a:r>
              <a:rPr lang="en-US" dirty="0"/>
              <a:t>Making complex decisions</a:t>
            </a:r>
          </a:p>
          <a:p>
            <a:pPr marL="233362" lvl="1" indent="0">
              <a:buNone/>
            </a:pPr>
            <a:endParaRPr lang="en-US" dirty="0"/>
          </a:p>
          <a:p>
            <a:r>
              <a:rPr lang="en-US" dirty="0"/>
              <a:t>Alerts (and runbooks) as co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34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307777"/>
          </a:xfrm>
        </p:spPr>
        <p:txBody>
          <a:bodyPr/>
          <a:lstStyle/>
          <a:p>
            <a:r>
              <a:rPr lang="en-US" sz="2000" dirty="0"/>
              <a:t>If you’re going to take a photo of any slide, it should be this one</a:t>
            </a:r>
          </a:p>
        </p:txBody>
      </p:sp>
    </p:spTree>
    <p:extLst>
      <p:ext uri="{BB962C8B-B14F-4D97-AF65-F5344CB8AC3E}">
        <p14:creationId xmlns:p14="http://schemas.microsoft.com/office/powerpoint/2010/main" val="63986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0131421-458F-A148-9D5F-B32A055626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598"/>
          <a:stretch/>
        </p:blipFill>
        <p:spPr>
          <a:xfrm>
            <a:off x="1149340" y="2271061"/>
            <a:ext cx="3853451" cy="26654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FE855A-F38F-A14F-8BDA-EC0E0304C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244"/>
          <a:stretch/>
        </p:blipFill>
        <p:spPr>
          <a:xfrm>
            <a:off x="5436353" y="2276747"/>
            <a:ext cx="2027421" cy="26597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181410"/>
            <a:ext cx="9144000" cy="857250"/>
          </a:xfrm>
        </p:spPr>
        <p:txBody>
          <a:bodyPr/>
          <a:lstStyle/>
          <a:p>
            <a:r>
              <a:rPr lang="en-US" dirty="0"/>
              <a:t>Rate today</a:t>
            </a:r>
            <a:r>
              <a:rPr lang="en-US" sz="1600" dirty="0"/>
              <a:t> </a:t>
            </a:r>
            <a:r>
              <a:rPr lang="en-US" dirty="0"/>
              <a:t>’s session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B9220209-4A62-B342-B343-8F7E2FDD88B6}"/>
              </a:ext>
            </a:extLst>
          </p:cNvPr>
          <p:cNvSpPr txBox="1">
            <a:spLocks/>
          </p:cNvSpPr>
          <p:nvPr/>
        </p:nvSpPr>
        <p:spPr>
          <a:xfrm>
            <a:off x="1149340" y="5032289"/>
            <a:ext cx="3800533" cy="381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600"/>
              </a:spcAft>
              <a:buFontTx/>
              <a:buNone/>
              <a:defRPr sz="2800" kern="1200" spc="50">
                <a:solidFill>
                  <a:schemeClr val="tx1">
                    <a:lumMod val="75000"/>
                  </a:schemeClr>
                </a:solidFill>
                <a:latin typeface="Open Sans Ligh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400" dirty="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ion page on conference websit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DB54BD9C-9CD1-9744-9D24-D48CF9809631}"/>
              </a:ext>
            </a:extLst>
          </p:cNvPr>
          <p:cNvSpPr txBox="1">
            <a:spLocks/>
          </p:cNvSpPr>
          <p:nvPr/>
        </p:nvSpPr>
        <p:spPr>
          <a:xfrm>
            <a:off x="5547360" y="5032289"/>
            <a:ext cx="1976846" cy="381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600"/>
              </a:spcAft>
              <a:buFontTx/>
              <a:buNone/>
              <a:defRPr sz="2800" kern="1200" spc="50">
                <a:solidFill>
                  <a:schemeClr val="tx1">
                    <a:lumMod val="75000"/>
                  </a:schemeClr>
                </a:solidFill>
                <a:latin typeface="Open Sans Ligh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1400" dirty="0">
                <a:solidFill>
                  <a:prstClr val="white">
                    <a:lumMod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’Reilly Events App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DE6CA6E-04BB-8245-8A3B-B1FB568F84EC}"/>
              </a:ext>
            </a:extLst>
          </p:cNvPr>
          <p:cNvSpPr/>
          <p:nvPr/>
        </p:nvSpPr>
        <p:spPr>
          <a:xfrm>
            <a:off x="5757246" y="4587040"/>
            <a:ext cx="1497874" cy="400594"/>
          </a:xfrm>
          <a:prstGeom prst="ellipse">
            <a:avLst/>
          </a:prstGeom>
          <a:noFill/>
          <a:ln w="22225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470E3EE-6A0B-CC43-8C41-89A3E4B86CB7}"/>
              </a:ext>
            </a:extLst>
          </p:cNvPr>
          <p:cNvGrpSpPr/>
          <p:nvPr/>
        </p:nvGrpSpPr>
        <p:grpSpPr>
          <a:xfrm>
            <a:off x="6882641" y="3991337"/>
            <a:ext cx="1178620" cy="825752"/>
            <a:chOff x="6691509" y="3044467"/>
            <a:chExt cx="1178620" cy="825752"/>
          </a:xfrm>
          <a:effectLst>
            <a:outerShdw blurRad="12700" dist="12700" dir="2700000" algn="tl" rotWithShape="0">
              <a:prstClr val="black">
                <a:alpha val="50000"/>
              </a:prstClr>
            </a:outerShdw>
          </a:effectLst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42A43637-5CBB-ED4F-88E6-20B7796F4F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06255" y="3044467"/>
              <a:ext cx="1063874" cy="736107"/>
            </a:xfrm>
            <a:prstGeom prst="straightConnector1">
              <a:avLst/>
            </a:prstGeom>
            <a:ln w="254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A7988DFE-77A6-A94B-90D1-1B004DBA85C4}"/>
                </a:ext>
              </a:extLst>
            </p:cNvPr>
            <p:cNvSpPr/>
            <p:nvPr/>
          </p:nvSpPr>
          <p:spPr>
            <a:xfrm rot="14035505">
              <a:off x="6716610" y="3665827"/>
              <a:ext cx="179291" cy="229493"/>
            </a:xfrm>
            <a:prstGeom prst="triangle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3BD2F38-1EA8-E44C-AB72-D173356E57C2}"/>
              </a:ext>
            </a:extLst>
          </p:cNvPr>
          <p:cNvGrpSpPr/>
          <p:nvPr/>
        </p:nvGrpSpPr>
        <p:grpSpPr>
          <a:xfrm rot="2034982">
            <a:off x="2035637" y="2685308"/>
            <a:ext cx="1178620" cy="825752"/>
            <a:chOff x="6691509" y="3044467"/>
            <a:chExt cx="1178620" cy="825752"/>
          </a:xfrm>
          <a:effectLst>
            <a:outerShdw blurRad="12700" dist="12700" dir="2700000" algn="tl" rotWithShape="0">
              <a:prstClr val="black">
                <a:alpha val="50000"/>
              </a:prstClr>
            </a:outerShdw>
          </a:effectLst>
        </p:grpSpPr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B884061D-5388-604E-B068-0967A178387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06255" y="3044467"/>
              <a:ext cx="1063874" cy="736107"/>
            </a:xfrm>
            <a:prstGeom prst="straightConnector1">
              <a:avLst/>
            </a:prstGeom>
            <a:ln w="25400">
              <a:solidFill>
                <a:srgbClr val="00B0F0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riangle 31">
              <a:extLst>
                <a:ext uri="{FF2B5EF4-FFF2-40B4-BE49-F238E27FC236}">
                  <a16:creationId xmlns:a16="http://schemas.microsoft.com/office/drawing/2014/main" id="{90A556CD-B3D3-5D45-BC4E-F70E567F4F08}"/>
                </a:ext>
              </a:extLst>
            </p:cNvPr>
            <p:cNvSpPr/>
            <p:nvPr/>
          </p:nvSpPr>
          <p:spPr>
            <a:xfrm rot="14035505">
              <a:off x="6716610" y="3665827"/>
              <a:ext cx="179291" cy="229493"/>
            </a:xfrm>
            <a:prstGeom prst="triangle">
              <a:avLst/>
            </a:prstGeom>
            <a:solidFill>
              <a:srgbClr val="00B0F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B0764D3D-2213-5C4D-902C-1ED6AE5BEC51}"/>
              </a:ext>
            </a:extLst>
          </p:cNvPr>
          <p:cNvSpPr/>
          <p:nvPr/>
        </p:nvSpPr>
        <p:spPr>
          <a:xfrm>
            <a:off x="1040077" y="2901074"/>
            <a:ext cx="870260" cy="385461"/>
          </a:xfrm>
          <a:prstGeom prst="ellipse">
            <a:avLst/>
          </a:prstGeom>
          <a:noFill/>
          <a:ln w="22225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096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8000">
        <p:fade/>
      </p:transition>
    </mc:Choice>
    <mc:Fallback xmlns="">
      <p:transition spd="slow" advClick="0" advTm="800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who, what, why, and h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D8541-B882-4AF4-B7ED-3611CCBB4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The call to … adventure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FD1041-6113-4F05-BC0A-C3A2D8F92C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sz="2000" dirty="0"/>
              <a:t>There I was: a relatable, family-friendly, and generic engineer, toiling away in the IT mines.</a:t>
            </a:r>
          </a:p>
          <a:p>
            <a:endParaRPr lang="en-US" sz="2000" dirty="0"/>
          </a:p>
          <a:p>
            <a:r>
              <a:rPr lang="en-US" sz="2000" dirty="0"/>
              <a:t>The work to be done was “Sustaining Engineering and Support”</a:t>
            </a:r>
          </a:p>
        </p:txBody>
      </p:sp>
    </p:spTree>
    <p:extLst>
      <p:ext uri="{BB962C8B-B14F-4D97-AF65-F5344CB8AC3E}">
        <p14:creationId xmlns:p14="http://schemas.microsoft.com/office/powerpoint/2010/main" val="375836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who, what, why, and h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D8541-B882-4AF4-B7ED-3611CCBB4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The call to … adventure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FD1041-6113-4F05-BC0A-C3A2D8F92C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452346-A955-4ED6-AAF8-DF11544D40CB}"/>
              </a:ext>
            </a:extLst>
          </p:cNvPr>
          <p:cNvSpPr/>
          <p:nvPr/>
        </p:nvSpPr>
        <p:spPr bwMode="auto">
          <a:xfrm>
            <a:off x="3952068" y="2774197"/>
            <a:ext cx="1069383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6E0A96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7030A0"/>
                </a:solidFill>
              </a:rPr>
              <a:t>S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06E27A-36E4-45B5-A0FC-02337890AC54}"/>
              </a:ext>
            </a:extLst>
          </p:cNvPr>
          <p:cNvSpPr/>
          <p:nvPr/>
        </p:nvSpPr>
        <p:spPr bwMode="auto">
          <a:xfrm>
            <a:off x="887413" y="2774197"/>
            <a:ext cx="2305238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000000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Dev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01F4423-031B-4354-9801-2690AC6C790E}"/>
              </a:ext>
            </a:extLst>
          </p:cNvPr>
          <p:cNvCxnSpPr>
            <a:stCxn id="5" idx="3"/>
            <a:endCxn id="3" idx="1"/>
          </p:cNvCxnSpPr>
          <p:nvPr/>
        </p:nvCxnSpPr>
        <p:spPr>
          <a:xfrm>
            <a:off x="3192651" y="3882326"/>
            <a:ext cx="75941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19A810F-8EDC-4226-9DDA-3C81880DB31D}"/>
              </a:ext>
            </a:extLst>
          </p:cNvPr>
          <p:cNvSpPr/>
          <p:nvPr/>
        </p:nvSpPr>
        <p:spPr bwMode="auto">
          <a:xfrm>
            <a:off x="5811864" y="2774197"/>
            <a:ext cx="2444723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chemeClr val="accent3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Marketing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3DFF751-098A-435E-80A6-93B259B1D7E4}"/>
              </a:ext>
            </a:extLst>
          </p:cNvPr>
          <p:cNvCxnSpPr>
            <a:stCxn id="10" idx="1"/>
            <a:endCxn id="3" idx="3"/>
          </p:cNvCxnSpPr>
          <p:nvPr/>
        </p:nvCxnSpPr>
        <p:spPr>
          <a:xfrm flipH="1">
            <a:off x="5021451" y="3882326"/>
            <a:ext cx="79041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878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who, what, why, and h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D8541-B882-4AF4-B7ED-3611CCBB4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The call to … adventure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FD1041-6113-4F05-BC0A-C3A2D8F92C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452346-A955-4ED6-AAF8-DF11544D40CB}"/>
              </a:ext>
            </a:extLst>
          </p:cNvPr>
          <p:cNvSpPr/>
          <p:nvPr/>
        </p:nvSpPr>
        <p:spPr bwMode="auto">
          <a:xfrm>
            <a:off x="3952068" y="2774197"/>
            <a:ext cx="1069383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6E0A96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7030A0"/>
                </a:solidFill>
              </a:rPr>
              <a:t>S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06E27A-36E4-45B5-A0FC-02337890AC54}"/>
              </a:ext>
            </a:extLst>
          </p:cNvPr>
          <p:cNvSpPr/>
          <p:nvPr/>
        </p:nvSpPr>
        <p:spPr bwMode="auto">
          <a:xfrm>
            <a:off x="887413" y="2774197"/>
            <a:ext cx="2305238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000000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Dev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01F4423-031B-4354-9801-2690AC6C790E}"/>
              </a:ext>
            </a:extLst>
          </p:cNvPr>
          <p:cNvCxnSpPr>
            <a:stCxn id="5" idx="3"/>
            <a:endCxn id="3" idx="1"/>
          </p:cNvCxnSpPr>
          <p:nvPr/>
        </p:nvCxnSpPr>
        <p:spPr>
          <a:xfrm>
            <a:off x="3192651" y="3882326"/>
            <a:ext cx="75941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19A810F-8EDC-4226-9DDA-3C81880DB31D}"/>
              </a:ext>
            </a:extLst>
          </p:cNvPr>
          <p:cNvSpPr/>
          <p:nvPr/>
        </p:nvSpPr>
        <p:spPr bwMode="auto">
          <a:xfrm>
            <a:off x="5811864" y="2774197"/>
            <a:ext cx="2444723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chemeClr val="accent3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Marketing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3DFF751-098A-435E-80A6-93B259B1D7E4}"/>
              </a:ext>
            </a:extLst>
          </p:cNvPr>
          <p:cNvCxnSpPr>
            <a:stCxn id="10" idx="1"/>
            <a:endCxn id="3" idx="3"/>
          </p:cNvCxnSpPr>
          <p:nvPr/>
        </p:nvCxnSpPr>
        <p:spPr>
          <a:xfrm flipH="1">
            <a:off x="5021451" y="3882326"/>
            <a:ext cx="79041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EBB8744C-7E2E-44D3-8B9C-861357520665}"/>
              </a:ext>
            </a:extLst>
          </p:cNvPr>
          <p:cNvSpPr/>
          <p:nvPr/>
        </p:nvSpPr>
        <p:spPr bwMode="auto">
          <a:xfrm>
            <a:off x="4881966" y="1275268"/>
            <a:ext cx="1968285" cy="1111471"/>
          </a:xfrm>
          <a:prstGeom prst="ellipse">
            <a:avLst/>
          </a:prstGeom>
          <a:solidFill>
            <a:schemeClr val="bg1"/>
          </a:solidFill>
          <a:ln w="28575" cap="flat">
            <a:solidFill>
              <a:srgbClr val="C00000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CAR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6D92585-2271-4154-BFF8-FD094D77A166}"/>
              </a:ext>
            </a:extLst>
          </p:cNvPr>
          <p:cNvCxnSpPr>
            <a:stCxn id="6" idx="3"/>
            <a:endCxn id="3" idx="0"/>
          </p:cNvCxnSpPr>
          <p:nvPr/>
        </p:nvCxnSpPr>
        <p:spPr>
          <a:xfrm flipH="1">
            <a:off x="4486760" y="2223968"/>
            <a:ext cx="683455" cy="5502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The who, what, why, and h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851237-8293-48A1-8CC1-CA8E6B2AF05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8454F"/>
                </a:solidFill>
                <a:effectLst/>
                <a:uLnTx/>
                <a:uFillTx/>
                <a:latin typeface="Oslo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8454F"/>
              </a:solidFill>
              <a:effectLst/>
              <a:uLnTx/>
              <a:uFillTx/>
              <a:latin typeface="Oslo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4D8541-B882-4AF4-B7ED-3611CCBB4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The call to … adventure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FD1041-6113-4F05-BC0A-C3A2D8F92C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452346-A955-4ED6-AAF8-DF11544D40CB}"/>
              </a:ext>
            </a:extLst>
          </p:cNvPr>
          <p:cNvSpPr/>
          <p:nvPr/>
        </p:nvSpPr>
        <p:spPr bwMode="auto">
          <a:xfrm>
            <a:off x="3952068" y="2774197"/>
            <a:ext cx="1069383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6E0A96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7030A0"/>
                </a:solidFill>
              </a:rPr>
              <a:t>S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06E27A-36E4-45B5-A0FC-02337890AC54}"/>
              </a:ext>
            </a:extLst>
          </p:cNvPr>
          <p:cNvSpPr/>
          <p:nvPr/>
        </p:nvSpPr>
        <p:spPr bwMode="auto">
          <a:xfrm>
            <a:off x="887413" y="2774197"/>
            <a:ext cx="2305238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000000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Dev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01F4423-031B-4354-9801-2690AC6C790E}"/>
              </a:ext>
            </a:extLst>
          </p:cNvPr>
          <p:cNvCxnSpPr>
            <a:stCxn id="5" idx="3"/>
            <a:endCxn id="3" idx="1"/>
          </p:cNvCxnSpPr>
          <p:nvPr/>
        </p:nvCxnSpPr>
        <p:spPr>
          <a:xfrm>
            <a:off x="3192651" y="3882326"/>
            <a:ext cx="75941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19A810F-8EDC-4226-9DDA-3C81880DB31D}"/>
              </a:ext>
            </a:extLst>
          </p:cNvPr>
          <p:cNvSpPr/>
          <p:nvPr/>
        </p:nvSpPr>
        <p:spPr bwMode="auto">
          <a:xfrm>
            <a:off x="5811864" y="2774197"/>
            <a:ext cx="2444723" cy="2216257"/>
          </a:xfrm>
          <a:prstGeom prst="rect">
            <a:avLst/>
          </a:prstGeom>
          <a:solidFill>
            <a:schemeClr val="bg1"/>
          </a:solidFill>
          <a:ln w="28575" cap="flat">
            <a:solidFill>
              <a:schemeClr val="accent3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Marketing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3DFF751-098A-435E-80A6-93B259B1D7E4}"/>
              </a:ext>
            </a:extLst>
          </p:cNvPr>
          <p:cNvCxnSpPr>
            <a:stCxn id="10" idx="1"/>
            <a:endCxn id="3" idx="3"/>
          </p:cNvCxnSpPr>
          <p:nvPr/>
        </p:nvCxnSpPr>
        <p:spPr>
          <a:xfrm flipH="1">
            <a:off x="5021451" y="3882326"/>
            <a:ext cx="790413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EBB8744C-7E2E-44D3-8B9C-861357520665}"/>
              </a:ext>
            </a:extLst>
          </p:cNvPr>
          <p:cNvSpPr/>
          <p:nvPr/>
        </p:nvSpPr>
        <p:spPr bwMode="auto">
          <a:xfrm>
            <a:off x="4881966" y="1275268"/>
            <a:ext cx="1968285" cy="1111471"/>
          </a:xfrm>
          <a:prstGeom prst="ellipse">
            <a:avLst/>
          </a:prstGeom>
          <a:solidFill>
            <a:schemeClr val="bg1"/>
          </a:solidFill>
          <a:ln w="28575" cap="flat">
            <a:solidFill>
              <a:srgbClr val="C00000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CAR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6D92585-2271-4154-BFF8-FD094D77A166}"/>
              </a:ext>
            </a:extLst>
          </p:cNvPr>
          <p:cNvCxnSpPr>
            <a:stCxn id="6" idx="3"/>
            <a:endCxn id="3" idx="0"/>
          </p:cNvCxnSpPr>
          <p:nvPr/>
        </p:nvCxnSpPr>
        <p:spPr>
          <a:xfrm flipH="1">
            <a:off x="4486760" y="2223968"/>
            <a:ext cx="683455" cy="55022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4A645AE1-F4F9-40C9-857D-1F2A27EEE470}"/>
              </a:ext>
            </a:extLst>
          </p:cNvPr>
          <p:cNvSpPr/>
          <p:nvPr/>
        </p:nvSpPr>
        <p:spPr bwMode="auto">
          <a:xfrm>
            <a:off x="3084162" y="5439905"/>
            <a:ext cx="2479729" cy="1220856"/>
          </a:xfrm>
          <a:prstGeom prst="ellipse">
            <a:avLst/>
          </a:prstGeom>
          <a:solidFill>
            <a:schemeClr val="bg1"/>
          </a:solidFill>
          <a:ln w="28575" cap="flat">
            <a:solidFill>
              <a:srgbClr val="FFC000"/>
            </a:solidFill>
            <a:prstDash val="solid"/>
            <a:miter lim="800000"/>
            <a:headEnd/>
            <a:tailEnd/>
          </a:ln>
          <a:ex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rgbClr val="FFC000"/>
                </a:solidFill>
              </a:rPr>
              <a:t>Incident Management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FECD245-C4B1-4673-819B-35E7B07D928A}"/>
              </a:ext>
            </a:extLst>
          </p:cNvPr>
          <p:cNvCxnSpPr>
            <a:stCxn id="11" idx="0"/>
            <a:endCxn id="3" idx="2"/>
          </p:cNvCxnSpPr>
          <p:nvPr/>
        </p:nvCxnSpPr>
        <p:spPr>
          <a:xfrm flipV="1">
            <a:off x="4324027" y="4990454"/>
            <a:ext cx="162733" cy="44945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73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96AB798-5242-4F9F-BA40-9D3E0984637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363538" y="1524000"/>
          <a:ext cx="8515350" cy="4616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72627A17-3394-4B20-BCC3-C12CC18BA4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0138439"/>
              </p:ext>
            </p:extLst>
          </p:nvPr>
        </p:nvGraphicFramePr>
        <p:xfrm>
          <a:off x="790060" y="1397000"/>
          <a:ext cx="7563880" cy="4743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So many chores on this web fa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7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1A3843-F285-47F8-AD73-7D9A5EBB32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Yes, I switched metaph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0DA4F1-22C9-4D8A-BEB0-C9A79CB9A893}"/>
              </a:ext>
            </a:extLst>
          </p:cNvPr>
          <p:cNvSpPr txBox="1"/>
          <p:nvPr/>
        </p:nvSpPr>
        <p:spPr>
          <a:xfrm>
            <a:off x="1007389" y="1890792"/>
            <a:ext cx="6989735" cy="3570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45720" tIns="45720" rIns="45720" bIns="45720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88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96AB798-5242-4F9F-BA40-9D3E098463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1956025"/>
              </p:ext>
            </p:extLst>
          </p:nvPr>
        </p:nvGraphicFramePr>
        <p:xfrm>
          <a:off x="363538" y="1524000"/>
          <a:ext cx="8515350" cy="4616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72627A17-3394-4B20-BCC3-C12CC18BA4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1536793"/>
              </p:ext>
            </p:extLst>
          </p:nvPr>
        </p:nvGraphicFramePr>
        <p:xfrm>
          <a:off x="790060" y="1397000"/>
          <a:ext cx="7563880" cy="4743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8" y="583030"/>
            <a:ext cx="8526244" cy="393954"/>
          </a:xfrm>
        </p:spPr>
        <p:txBody>
          <a:bodyPr/>
          <a:lstStyle/>
          <a:p>
            <a:r>
              <a:rPr lang="en-US" sz="3200" dirty="0"/>
              <a:t>So many chores on this web fa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51237-8293-48A1-8CC1-CA8E6B2AF051}" type="slidenum">
              <a:rPr lang="en-US" smtClean="0"/>
              <a:t>8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1475" y="996026"/>
            <a:ext cx="8528685" cy="707886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Yes, I switched metapho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2B410B-1AE6-45E6-8971-CA20422A148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705001" y="4378332"/>
            <a:ext cx="5733998" cy="9556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4B30A4-35A4-4F63-834F-814B876D2721}"/>
              </a:ext>
            </a:extLst>
          </p:cNvPr>
          <p:cNvSpPr txBox="1"/>
          <p:nvPr/>
        </p:nvSpPr>
        <p:spPr>
          <a:xfrm>
            <a:off x="790060" y="2475022"/>
            <a:ext cx="1875295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45720" tIns="45720" rIns="45720" bIns="45720" rtlCol="0" anchor="ctr">
            <a:noAutofit/>
          </a:bodyPr>
          <a:lstStyle/>
          <a:p>
            <a:r>
              <a:rPr lang="en-US" dirty="0"/>
              <a:t>So many chores</a:t>
            </a:r>
          </a:p>
        </p:txBody>
      </p:sp>
    </p:spTree>
    <p:extLst>
      <p:ext uri="{BB962C8B-B14F-4D97-AF65-F5344CB8AC3E}">
        <p14:creationId xmlns:p14="http://schemas.microsoft.com/office/powerpoint/2010/main" val="344396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ArEy7O4kCTKR7VLUBsf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lLqoW5YE6mJJ1kxE8B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Palette">
  <a:themeElements>
    <a:clrScheme name="Vistaprint Blue">
      <a:dk1>
        <a:srgbClr val="38454F"/>
      </a:dk1>
      <a:lt1>
        <a:sysClr val="window" lastClr="FFFFFF"/>
      </a:lt1>
      <a:dk2>
        <a:srgbClr val="006196"/>
      </a:dk2>
      <a:lt2>
        <a:srgbClr val="6ECFF5"/>
      </a:lt2>
      <a:accent1>
        <a:srgbClr val="2BA8E0"/>
      </a:accent1>
      <a:accent2>
        <a:srgbClr val="006196"/>
      </a:accent2>
      <a:accent3>
        <a:srgbClr val="00A34A"/>
      </a:accent3>
      <a:accent4>
        <a:srgbClr val="66DB2B"/>
      </a:accent4>
      <a:accent5>
        <a:srgbClr val="FFC200"/>
      </a:accent5>
      <a:accent6>
        <a:srgbClr val="FF8200"/>
      </a:accent6>
      <a:hlink>
        <a:srgbClr val="6E0A96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rot="0" spcFirstLastPara="0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</a:spDef>
    <a:txDef>
      <a:spPr>
        <a:solidFill>
          <a:schemeClr val="accent2"/>
        </a:solidFill>
      </a:spPr>
      <a:bodyPr vert="horz" lIns="45720" tIns="45720" rIns="45720" bIns="45720" rtlCol="0" anchor="ctr">
        <a:no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range Palette">
  <a:themeElements>
    <a:clrScheme name="Vistaprint Orange">
      <a:dk1>
        <a:srgbClr val="38454F"/>
      </a:dk1>
      <a:lt1>
        <a:sysClr val="window" lastClr="FFFFFF"/>
      </a:lt1>
      <a:dk2>
        <a:srgbClr val="FF4F00"/>
      </a:dk2>
      <a:lt2>
        <a:srgbClr val="FFC200"/>
      </a:lt2>
      <a:accent1>
        <a:srgbClr val="FF8200"/>
      </a:accent1>
      <a:accent2>
        <a:srgbClr val="FF4F00"/>
      </a:accent2>
      <a:accent3>
        <a:srgbClr val="E00808"/>
      </a:accent3>
      <a:accent4>
        <a:srgbClr val="A10524"/>
      </a:accent4>
      <a:accent5>
        <a:srgbClr val="6E0A96"/>
      </a:accent5>
      <a:accent6>
        <a:srgbClr val="2BA8E0"/>
      </a:accent6>
      <a:hlink>
        <a:srgbClr val="006196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solidFill>
          <a:schemeClr val="accent2"/>
        </a:solidFill>
      </a:spPr>
      <a:bodyPr vert="horz" lIns="45720" tIns="45720" rIns="45720" bIns="45720" rtlCol="0" anchor="ctr">
        <a:no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Green Palette">
  <a:themeElements>
    <a:clrScheme name="Vistaprint Green">
      <a:dk1>
        <a:srgbClr val="38454F"/>
      </a:dk1>
      <a:lt1>
        <a:sysClr val="window" lastClr="FFFFFF"/>
      </a:lt1>
      <a:dk2>
        <a:srgbClr val="00A34A"/>
      </a:dk2>
      <a:lt2>
        <a:srgbClr val="BFF21C"/>
      </a:lt2>
      <a:accent1>
        <a:srgbClr val="66DB2B"/>
      </a:accent1>
      <a:accent2>
        <a:srgbClr val="00A34A"/>
      </a:accent2>
      <a:accent3>
        <a:srgbClr val="FFC200"/>
      </a:accent3>
      <a:accent4>
        <a:srgbClr val="FF8200"/>
      </a:accent4>
      <a:accent5>
        <a:srgbClr val="E00808"/>
      </a:accent5>
      <a:accent6>
        <a:srgbClr val="EB0A87"/>
      </a:accent6>
      <a:hlink>
        <a:srgbClr val="AD00B0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noFill/>
      </a:spPr>
      <a:bodyPr wrap="square" lIns="0" tIns="0" rIns="0" bIns="0" rtlCol="0" anchor="ctr">
        <a:spAutoFit/>
      </a:bodyPr>
      <a:lstStyle>
        <a:defPPr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Purple Palette">
  <a:themeElements>
    <a:clrScheme name="Vistaprint Purple">
      <a:dk1>
        <a:srgbClr val="38454F"/>
      </a:dk1>
      <a:lt1>
        <a:sysClr val="window" lastClr="FFFFFF"/>
      </a:lt1>
      <a:dk2>
        <a:srgbClr val="6E0A96"/>
      </a:dk2>
      <a:lt2>
        <a:srgbClr val="EB0A87"/>
      </a:lt2>
      <a:accent1>
        <a:srgbClr val="AD00B0"/>
      </a:accent1>
      <a:accent2>
        <a:srgbClr val="6E0A96"/>
      </a:accent2>
      <a:accent3>
        <a:srgbClr val="FF4F00"/>
      </a:accent3>
      <a:accent4>
        <a:srgbClr val="FF8200"/>
      </a:accent4>
      <a:accent5>
        <a:srgbClr val="FFC200"/>
      </a:accent5>
      <a:accent6>
        <a:srgbClr val="BFF21C"/>
      </a:accent6>
      <a:hlink>
        <a:srgbClr val="2BA8E0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ctr">
          <a:defRPr/>
        </a:defPPr>
      </a:lstStyle>
    </a:spDef>
    <a:txDef>
      <a:spPr>
        <a:noFill/>
      </a:spPr>
      <a:bodyPr wrap="square" lIns="0" tIns="0" rIns="0" bIns="0" rtlCol="0" anchor="ctr">
        <a:spAutoFit/>
      </a:bodyPr>
      <a:lstStyle>
        <a:defPPr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Blue Palette">
  <a:themeElements>
    <a:clrScheme name="Vistaprint Blue">
      <a:dk1>
        <a:srgbClr val="38454F"/>
      </a:dk1>
      <a:lt1>
        <a:sysClr val="window" lastClr="FFFFFF"/>
      </a:lt1>
      <a:dk2>
        <a:srgbClr val="006196"/>
      </a:dk2>
      <a:lt2>
        <a:srgbClr val="6ECFF5"/>
      </a:lt2>
      <a:accent1>
        <a:srgbClr val="2BA8E0"/>
      </a:accent1>
      <a:accent2>
        <a:srgbClr val="006196"/>
      </a:accent2>
      <a:accent3>
        <a:srgbClr val="00A34A"/>
      </a:accent3>
      <a:accent4>
        <a:srgbClr val="66DB2B"/>
      </a:accent4>
      <a:accent5>
        <a:srgbClr val="FFC200"/>
      </a:accent5>
      <a:accent6>
        <a:srgbClr val="FF8200"/>
      </a:accent6>
      <a:hlink>
        <a:srgbClr val="6E0A96"/>
      </a:hlink>
      <a:folHlink>
        <a:srgbClr val="38454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>
          <a:noFill/>
          <a:prstDash val="solid"/>
          <a:miter lim="800000"/>
          <a:headEnd/>
          <a:tailEnd/>
        </a:ln>
        <a:extLst/>
      </a:spPr>
      <a:bodyPr rot="0" spcFirstLastPara="0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</a:spDef>
    <a:txDef>
      <a:spPr>
        <a:solidFill>
          <a:schemeClr val="accent2"/>
        </a:solidFill>
      </a:spPr>
      <a:bodyPr vert="horz" lIns="45720" tIns="45720" rIns="45720" bIns="45720" rtlCol="0" anchor="ctr">
        <a:noAutofit/>
      </a:bodyPr>
      <a:lstStyle>
        <a:defPPr>
          <a:defRPr dirty="0"/>
        </a:defPPr>
      </a:lstStyle>
    </a:txDef>
  </a:objectDefaults>
  <a:extraClrSchemeLst/>
</a:theme>
</file>

<file path=ppt/theme/theme6.xml><?xml version="1.0" encoding="utf-8"?>
<a:theme xmlns:a="http://schemas.openxmlformats.org/drawingml/2006/main" name="Main Conte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18</Words>
  <Application>Microsoft Office PowerPoint</Application>
  <PresentationFormat>On-screen Show (4:3)</PresentationFormat>
  <Paragraphs>380</Paragraphs>
  <Slides>36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6" baseType="lpstr">
      <vt:lpstr>Arial</vt:lpstr>
      <vt:lpstr>Calibri</vt:lpstr>
      <vt:lpstr>Oslo</vt:lpstr>
      <vt:lpstr>Blue Palette</vt:lpstr>
      <vt:lpstr>Orange Palette</vt:lpstr>
      <vt:lpstr>Green Palette</vt:lpstr>
      <vt:lpstr>Purple Palette</vt:lpstr>
      <vt:lpstr>1_Blue Palette</vt:lpstr>
      <vt:lpstr>Main Content</vt:lpstr>
      <vt:lpstr>think-cell Slide</vt:lpstr>
      <vt:lpstr>How I failed to build a runbook automation system</vt:lpstr>
      <vt:lpstr>Agenda</vt:lpstr>
      <vt:lpstr>The who, what, why, and how</vt:lpstr>
      <vt:lpstr>The who, what, why, and how</vt:lpstr>
      <vt:lpstr>The who, what, why, and how</vt:lpstr>
      <vt:lpstr>The who, what, why, and how</vt:lpstr>
      <vt:lpstr>The who, what, why, and how</vt:lpstr>
      <vt:lpstr>So many chores on this web farm</vt:lpstr>
      <vt:lpstr>So many chores on this web farm</vt:lpstr>
      <vt:lpstr>Reduce this toil, they said</vt:lpstr>
      <vt:lpstr>Reduce this toil, they said</vt:lpstr>
      <vt:lpstr>Agenda</vt:lpstr>
      <vt:lpstr>My mental model of alerting</vt:lpstr>
      <vt:lpstr>The runbook</vt:lpstr>
      <vt:lpstr>Agenda</vt:lpstr>
      <vt:lpstr>Create a system to orchestrate these actions</vt:lpstr>
      <vt:lpstr>Create a system to orchestrate these actions</vt:lpstr>
      <vt:lpstr>The audit</vt:lpstr>
      <vt:lpstr>Defeat</vt:lpstr>
      <vt:lpstr>Agenda</vt:lpstr>
      <vt:lpstr>What went wrong</vt:lpstr>
      <vt:lpstr>The runbook</vt:lpstr>
      <vt:lpstr>Bad iterations</vt:lpstr>
      <vt:lpstr>“Good” iterations</vt:lpstr>
      <vt:lpstr>What went wrong</vt:lpstr>
      <vt:lpstr>What went wrong</vt:lpstr>
      <vt:lpstr>Agenda</vt:lpstr>
      <vt:lpstr>Computers vs Humans</vt:lpstr>
      <vt:lpstr>Computers vs Humans</vt:lpstr>
      <vt:lpstr>Computers vs Humans</vt:lpstr>
      <vt:lpstr>Computers vs Humans</vt:lpstr>
      <vt:lpstr>Computers vs Humans</vt:lpstr>
      <vt:lpstr>Computers vs Humans</vt:lpstr>
      <vt:lpstr>Computers vs Humans</vt:lpstr>
      <vt:lpstr>Takeaways</vt:lpstr>
      <vt:lpstr>Rate today ’s se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8-28T03:05:55Z</dcterms:created>
  <dcterms:modified xsi:type="dcterms:W3CDTF">2019-06-13T12:28:16Z</dcterms:modified>
</cp:coreProperties>
</file>